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5.xml" ContentType="application/vnd.openxmlformats-officedocument.presentationml.notesSlide+xml"/>
  <Override PartName="/ppt/tags/tag32.xml" ContentType="application/vnd.openxmlformats-officedocument.presentationml.tags+xml"/>
  <Override PartName="/ppt/notesSlides/notesSlide6.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1" r:id="rId1"/>
  </p:sldMasterIdLst>
  <p:notesMasterIdLst>
    <p:notesMasterId r:id="rId43"/>
  </p:notesMasterIdLst>
  <p:sldIdLst>
    <p:sldId id="4267" r:id="rId2"/>
    <p:sldId id="4291" r:id="rId3"/>
    <p:sldId id="4307" r:id="rId4"/>
    <p:sldId id="4308" r:id="rId5"/>
    <p:sldId id="4309" r:id="rId6"/>
    <p:sldId id="4310" r:id="rId7"/>
    <p:sldId id="4311" r:id="rId8"/>
    <p:sldId id="4312" r:id="rId9"/>
    <p:sldId id="4313" r:id="rId10"/>
    <p:sldId id="4314" r:id="rId11"/>
    <p:sldId id="4315" r:id="rId12"/>
    <p:sldId id="4316" r:id="rId13"/>
    <p:sldId id="4317" r:id="rId14"/>
    <p:sldId id="4318" r:id="rId15"/>
    <p:sldId id="4319" r:id="rId16"/>
    <p:sldId id="4320" r:id="rId17"/>
    <p:sldId id="4321" r:id="rId18"/>
    <p:sldId id="4322" r:id="rId19"/>
    <p:sldId id="4323" r:id="rId20"/>
    <p:sldId id="4324" r:id="rId21"/>
    <p:sldId id="4325" r:id="rId22"/>
    <p:sldId id="4326" r:id="rId23"/>
    <p:sldId id="4333" r:id="rId24"/>
    <p:sldId id="4336" r:id="rId25"/>
    <p:sldId id="4327" r:id="rId26"/>
    <p:sldId id="4330" r:id="rId27"/>
    <p:sldId id="4328" r:id="rId28"/>
    <p:sldId id="4329" r:id="rId29"/>
    <p:sldId id="4332" r:id="rId30"/>
    <p:sldId id="4334" r:id="rId31"/>
    <p:sldId id="4335" r:id="rId32"/>
    <p:sldId id="4331" r:id="rId33"/>
    <p:sldId id="4337" r:id="rId34"/>
    <p:sldId id="4338" r:id="rId35"/>
    <p:sldId id="4339" r:id="rId36"/>
    <p:sldId id="4340" r:id="rId37"/>
    <p:sldId id="4341" r:id="rId38"/>
    <p:sldId id="4342" r:id="rId39"/>
    <p:sldId id="4343" r:id="rId40"/>
    <p:sldId id="4344" r:id="rId41"/>
    <p:sldId id="4288" r:id="rId42"/>
  </p:sldIdLst>
  <p:sldSz cx="9144000" cy="5143500" type="screen16x9"/>
  <p:notesSz cx="6858000" cy="9144000"/>
  <p:custDataLst>
    <p:tags r:id="rId44"/>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2" pos="5534" userDrawn="1">
          <p15:clr>
            <a:srgbClr val="A4A3A4"/>
          </p15:clr>
        </p15:guide>
        <p15:guide id="3" pos="226" userDrawn="1">
          <p15:clr>
            <a:srgbClr val="A4A3A4"/>
          </p15:clr>
        </p15:guide>
        <p15:guide id="5" orient="horz" pos="3026" userDrawn="1">
          <p15:clr>
            <a:srgbClr val="A4A3A4"/>
          </p15:clr>
        </p15:guide>
        <p15:guide id="7" orient="horz" pos="826" userDrawn="1">
          <p15:clr>
            <a:srgbClr val="A4A3A4"/>
          </p15:clr>
        </p15:guide>
        <p15:guide id="9" orient="horz" pos="214" userDrawn="1">
          <p15:clr>
            <a:srgbClr val="A4A3A4"/>
          </p15:clr>
        </p15:guide>
        <p15:guide id="10" orient="horz" pos="323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C0F"/>
    <a:srgbClr val="90BDC9"/>
    <a:srgbClr val="FFB466"/>
    <a:srgbClr val="CDBB8F"/>
    <a:srgbClr val="C8BC60"/>
    <a:srgbClr val="BFB045"/>
    <a:srgbClr val="FF8200"/>
    <a:srgbClr val="C4C4C7"/>
    <a:srgbClr val="5A5A5A"/>
    <a:srgbClr val="3C3C46"/>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2623" autoAdjust="0"/>
    <p:restoredTop sz="89225" autoAdjust="0"/>
  </p:normalViewPr>
  <p:slideViewPr>
    <p:cSldViewPr snapToGrid="0" snapToObjects="1">
      <p:cViewPr>
        <p:scale>
          <a:sx n="150" d="100"/>
          <a:sy n="150" d="100"/>
        </p:scale>
        <p:origin x="66" y="-276"/>
      </p:cViewPr>
      <p:guideLst>
        <p:guide pos="5534"/>
        <p:guide pos="226"/>
        <p:guide orient="horz" pos="3026"/>
        <p:guide orient="horz" pos="826"/>
        <p:guide orient="horz" pos="214"/>
        <p:guide orient="horz" pos="3230"/>
      </p:guideLst>
    </p:cSldViewPr>
  </p:slideViewPr>
  <p:notesTextViewPr>
    <p:cViewPr>
      <p:scale>
        <a:sx n="1" d="1"/>
        <a:sy n="1" d="1"/>
      </p:scale>
      <p:origin x="0" y="0"/>
    </p:cViewPr>
  </p:notesTextViewPr>
  <p:sorterViewPr>
    <p:cViewPr>
      <p:scale>
        <a:sx n="100" d="100"/>
        <a:sy n="100" d="100"/>
      </p:scale>
      <p:origin x="0" y="0"/>
    </p:cViewPr>
  </p:sorter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404B14-989A-4E59-A84D-4F3754B4DAE0}" type="datetimeFigureOut">
              <a:rPr lang="de-DE" smtClean="0"/>
              <a:t>27.05.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380884-21F8-4CF6-87A3-5D95091CE8AC}" type="slidenum">
              <a:rPr lang="de-DE" smtClean="0"/>
              <a:t>‹#›</a:t>
            </a:fld>
            <a:endParaRPr lang="de-DE"/>
          </a:p>
        </p:txBody>
      </p:sp>
    </p:spTree>
    <p:extLst>
      <p:ext uri="{BB962C8B-B14F-4D97-AF65-F5344CB8AC3E}">
        <p14:creationId xmlns:p14="http://schemas.microsoft.com/office/powerpoint/2010/main" val="37685132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4C4243"/>
                </a:solidFill>
                <a:effectLst/>
                <a:latin typeface="Pathway Extreme"/>
              </a:rPr>
              <a:t>Version control helps developers track and manage changes to a software project’s code. As a software project grows, version control becomes essential.</a:t>
            </a:r>
            <a:endParaRPr lang="en-US" dirty="0"/>
          </a:p>
        </p:txBody>
      </p:sp>
      <p:sp>
        <p:nvSpPr>
          <p:cNvPr id="4" name="Slide Number Placeholder 3"/>
          <p:cNvSpPr>
            <a:spLocks noGrp="1"/>
          </p:cNvSpPr>
          <p:nvPr>
            <p:ph type="sldNum" sz="quarter" idx="5"/>
          </p:nvPr>
        </p:nvSpPr>
        <p:spPr/>
        <p:txBody>
          <a:bodyPr/>
          <a:lstStyle/>
          <a:p>
            <a:fld id="{60380884-21F8-4CF6-87A3-5D95091CE8AC}" type="slidenum">
              <a:rPr lang="de-DE" smtClean="0"/>
              <a:t>2</a:t>
            </a:fld>
            <a:endParaRPr lang="de-DE"/>
          </a:p>
        </p:txBody>
      </p:sp>
    </p:spTree>
    <p:extLst>
      <p:ext uri="{BB962C8B-B14F-4D97-AF65-F5344CB8AC3E}">
        <p14:creationId xmlns:p14="http://schemas.microsoft.com/office/powerpoint/2010/main" val="4164558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380884-21F8-4CF6-87A3-5D95091CE8AC}" type="slidenum">
              <a:rPr lang="de-DE" smtClean="0"/>
              <a:t>3</a:t>
            </a:fld>
            <a:endParaRPr lang="de-DE"/>
          </a:p>
        </p:txBody>
      </p:sp>
    </p:spTree>
    <p:extLst>
      <p:ext uri="{BB962C8B-B14F-4D97-AF65-F5344CB8AC3E}">
        <p14:creationId xmlns:p14="http://schemas.microsoft.com/office/powerpoint/2010/main" val="15538236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380884-21F8-4CF6-87A3-5D95091CE8AC}" type="slidenum">
              <a:rPr lang="de-DE" smtClean="0"/>
              <a:t>5</a:t>
            </a:fld>
            <a:endParaRPr lang="de-DE"/>
          </a:p>
        </p:txBody>
      </p:sp>
    </p:spTree>
    <p:extLst>
      <p:ext uri="{BB962C8B-B14F-4D97-AF65-F5344CB8AC3E}">
        <p14:creationId xmlns:p14="http://schemas.microsoft.com/office/powerpoint/2010/main" val="11749785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Verdana" panose="020B0604030504040204" pitchFamily="34" charset="0"/>
                <a:ea typeface="Verdana" panose="020B0604030504040204" pitchFamily="34" charset="0"/>
              </a:rPr>
              <a:t>To create a new branch from the 'main' branch in GitHub Desktop, navigate to Branch -&gt; New branch. Alternatively, if you want to create a branch from a specific commit, right-click on the commit -&gt; Create branch from commit. Pushing the new branch to the server means you'll have a copy of the main branch or the specific commit as a new branch.</a:t>
            </a:r>
          </a:p>
          <a:p>
            <a:endParaRPr lang="en-US" dirty="0"/>
          </a:p>
        </p:txBody>
      </p:sp>
      <p:sp>
        <p:nvSpPr>
          <p:cNvPr id="4" name="Slide Number Placeholder 3"/>
          <p:cNvSpPr>
            <a:spLocks noGrp="1"/>
          </p:cNvSpPr>
          <p:nvPr>
            <p:ph type="sldNum" sz="quarter" idx="5"/>
          </p:nvPr>
        </p:nvSpPr>
        <p:spPr/>
        <p:txBody>
          <a:bodyPr/>
          <a:lstStyle/>
          <a:p>
            <a:fld id="{60380884-21F8-4CF6-87A3-5D95091CE8AC}" type="slidenum">
              <a:rPr lang="de-DE" smtClean="0"/>
              <a:t>21</a:t>
            </a:fld>
            <a:endParaRPr lang="de-DE"/>
          </a:p>
        </p:txBody>
      </p:sp>
    </p:spTree>
    <p:extLst>
      <p:ext uri="{BB962C8B-B14F-4D97-AF65-F5344CB8AC3E}">
        <p14:creationId xmlns:p14="http://schemas.microsoft.com/office/powerpoint/2010/main" val="25370523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380884-21F8-4CF6-87A3-5D95091CE8AC}" type="slidenum">
              <a:rPr lang="de-DE" smtClean="0"/>
              <a:t>30</a:t>
            </a:fld>
            <a:endParaRPr lang="de-DE"/>
          </a:p>
        </p:txBody>
      </p:sp>
    </p:spTree>
    <p:extLst>
      <p:ext uri="{BB962C8B-B14F-4D97-AF65-F5344CB8AC3E}">
        <p14:creationId xmlns:p14="http://schemas.microsoft.com/office/powerpoint/2010/main" val="2837413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just">
              <a:buClr>
                <a:srgbClr val="990000"/>
              </a:buClr>
              <a:buFont typeface="Wingdings" panose="05000000000000000000" pitchFamily="2" charset="2"/>
              <a:buChar char="§"/>
            </a:pPr>
            <a:r>
              <a:rPr lang="en-US" sz="1400" dirty="0">
                <a:latin typeface="Verdana" panose="020B0604030504040204" pitchFamily="34" charset="0"/>
                <a:ea typeface="Verdana" panose="020B0604030504040204" pitchFamily="34" charset="0"/>
              </a:rPr>
              <a:t>Examples for files in git ignore</a:t>
            </a:r>
          </a:p>
          <a:p>
            <a:pPr marL="685800" lvl="1" indent="-342900" algn="just">
              <a:buClr>
                <a:srgbClr val="990000"/>
              </a:buClr>
              <a:buFont typeface="Wingdings" panose="05000000000000000000" pitchFamily="2" charset="2"/>
              <a:buChar char="§"/>
            </a:pPr>
            <a:r>
              <a:rPr lang="fr-FR" sz="1200" dirty="0">
                <a:latin typeface="Verdana" panose="020B0604030504040204" pitchFamily="34" charset="0"/>
                <a:ea typeface="Verdana" panose="020B0604030504040204" pitchFamily="34" charset="0"/>
              </a:rPr>
              <a:t>log files</a:t>
            </a:r>
          </a:p>
          <a:p>
            <a:pPr marL="685800" lvl="1" indent="-342900" algn="just">
              <a:buClr>
                <a:srgbClr val="990000"/>
              </a:buClr>
              <a:buFont typeface="Wingdings" panose="05000000000000000000" pitchFamily="2" charset="2"/>
              <a:buChar char="§"/>
            </a:pPr>
            <a:r>
              <a:rPr lang="en-US" sz="1200" dirty="0">
                <a:latin typeface="Verdana" panose="020B0604030504040204" pitchFamily="34" charset="0"/>
                <a:ea typeface="Verdana" panose="020B0604030504040204" pitchFamily="34" charset="0"/>
              </a:rPr>
              <a:t>temporary</a:t>
            </a:r>
            <a:r>
              <a:rPr lang="fr-FR" sz="1200" dirty="0">
                <a:latin typeface="Verdana" panose="020B0604030504040204" pitchFamily="34" charset="0"/>
                <a:ea typeface="Verdana" panose="020B0604030504040204" pitchFamily="34" charset="0"/>
              </a:rPr>
              <a:t> files</a:t>
            </a:r>
          </a:p>
          <a:p>
            <a:pPr marL="685800" lvl="1" indent="-342900" algn="just">
              <a:buClr>
                <a:srgbClr val="990000"/>
              </a:buClr>
              <a:buFont typeface="Wingdings" panose="05000000000000000000" pitchFamily="2" charset="2"/>
              <a:buChar char="§"/>
            </a:pPr>
            <a:r>
              <a:rPr lang="en-US" sz="1200" dirty="0">
                <a:latin typeface="Verdana" panose="020B0604030504040204" pitchFamily="34" charset="0"/>
                <a:ea typeface="Verdana" panose="020B0604030504040204" pitchFamily="34" charset="0"/>
              </a:rPr>
              <a:t>hidden</a:t>
            </a:r>
            <a:r>
              <a:rPr lang="fr-FR" sz="1200" dirty="0">
                <a:latin typeface="Verdana" panose="020B0604030504040204" pitchFamily="34" charset="0"/>
                <a:ea typeface="Verdana" panose="020B0604030504040204" pitchFamily="34" charset="0"/>
              </a:rPr>
              <a:t> files</a:t>
            </a:r>
          </a:p>
          <a:p>
            <a:pPr marL="685800" lvl="1" indent="-342900" algn="just">
              <a:buClr>
                <a:srgbClr val="990000"/>
              </a:buClr>
              <a:buFont typeface="Wingdings" panose="05000000000000000000" pitchFamily="2" charset="2"/>
              <a:buChar char="§"/>
            </a:pPr>
            <a:r>
              <a:rPr lang="en-US" sz="1200" dirty="0">
                <a:latin typeface="Verdana" panose="020B0604030504040204" pitchFamily="34" charset="0"/>
                <a:ea typeface="Verdana" panose="020B0604030504040204" pitchFamily="34" charset="0"/>
              </a:rPr>
              <a:t>personal</a:t>
            </a:r>
            <a:r>
              <a:rPr lang="fr-FR" sz="1200" dirty="0">
                <a:latin typeface="Verdana" panose="020B0604030504040204" pitchFamily="34" charset="0"/>
                <a:ea typeface="Verdana" panose="020B0604030504040204" pitchFamily="34" charset="0"/>
              </a:rPr>
              <a:t> files, etc.</a:t>
            </a:r>
          </a:p>
          <a:p>
            <a:endParaRPr lang="en-US" dirty="0"/>
          </a:p>
        </p:txBody>
      </p:sp>
      <p:sp>
        <p:nvSpPr>
          <p:cNvPr id="4" name="Slide Number Placeholder 3"/>
          <p:cNvSpPr>
            <a:spLocks noGrp="1"/>
          </p:cNvSpPr>
          <p:nvPr>
            <p:ph type="sldNum" sz="quarter" idx="5"/>
          </p:nvPr>
        </p:nvSpPr>
        <p:spPr/>
        <p:txBody>
          <a:bodyPr/>
          <a:lstStyle/>
          <a:p>
            <a:fld id="{60380884-21F8-4CF6-87A3-5D95091CE8AC}" type="slidenum">
              <a:rPr lang="de-DE" smtClean="0"/>
              <a:t>31</a:t>
            </a:fld>
            <a:endParaRPr lang="de-DE"/>
          </a:p>
        </p:txBody>
      </p:sp>
    </p:spTree>
    <p:extLst>
      <p:ext uri="{BB962C8B-B14F-4D97-AF65-F5344CB8AC3E}">
        <p14:creationId xmlns:p14="http://schemas.microsoft.com/office/powerpoint/2010/main" val="19567043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380884-21F8-4CF6-87A3-5D95091CE8AC}" type="slidenum">
              <a:rPr lang="de-DE" smtClean="0"/>
              <a:t>41</a:t>
            </a:fld>
            <a:endParaRPr lang="de-DE"/>
          </a:p>
        </p:txBody>
      </p:sp>
    </p:spTree>
    <p:extLst>
      <p:ext uri="{BB962C8B-B14F-4D97-AF65-F5344CB8AC3E}">
        <p14:creationId xmlns:p14="http://schemas.microsoft.com/office/powerpoint/2010/main" val="24011237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pic>
        <p:nvPicPr>
          <p:cNvPr id="8" name="Grafik 7" descr="Ein Bild, das Himmel, draußen, Straße, Fahrrad enthält.&#10;&#10;Automatisch generierte Beschreibung">
            <a:extLst>
              <a:ext uri="{FF2B5EF4-FFF2-40B4-BE49-F238E27FC236}">
                <a16:creationId xmlns:a16="http://schemas.microsoft.com/office/drawing/2014/main" id="{A535C94F-D224-6C43-AB6A-C187D0AD3A0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143996" cy="5143500"/>
          </a:xfrm>
          <a:prstGeom prst="rect">
            <a:avLst/>
          </a:prstGeom>
        </p:spPr>
      </p:pic>
      <p:sp>
        <p:nvSpPr>
          <p:cNvPr id="3" name="Rechteck 2"/>
          <p:cNvSpPr/>
          <p:nvPr userDrawn="1"/>
        </p:nvSpPr>
        <p:spPr>
          <a:xfrm rot="10800000" flipV="1">
            <a:off x="0" y="-224"/>
            <a:ext cx="9143998" cy="5143724"/>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28" name="Gleichschenkliges Dreieck 25">
            <a:extLst>
              <a:ext uri="{FF2B5EF4-FFF2-40B4-BE49-F238E27FC236}">
                <a16:creationId xmlns:a16="http://schemas.microsoft.com/office/drawing/2014/main" id="{CE65301E-BC0E-5640-A595-8CCCFF596DED}"/>
              </a:ext>
            </a:extLst>
          </p:cNvPr>
          <p:cNvSpPr/>
          <p:nvPr userDrawn="1"/>
        </p:nvSpPr>
        <p:spPr>
          <a:xfrm rot="5400000">
            <a:off x="-43607" y="2339658"/>
            <a:ext cx="236438" cy="149225"/>
          </a:xfrm>
          <a:prstGeom prst="triangle">
            <a:avLst/>
          </a:prstGeom>
          <a:solidFill>
            <a:srgbClr val="C00C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9" name="Titel 1">
            <a:extLst>
              <a:ext uri="{FF2B5EF4-FFF2-40B4-BE49-F238E27FC236}">
                <a16:creationId xmlns:a16="http://schemas.microsoft.com/office/drawing/2014/main" id="{99EA941F-AAA4-9249-A1A3-A8BC8B3A5329}"/>
              </a:ext>
            </a:extLst>
          </p:cNvPr>
          <p:cNvSpPr>
            <a:spLocks noGrp="1"/>
          </p:cNvSpPr>
          <p:nvPr>
            <p:ph type="title"/>
          </p:nvPr>
        </p:nvSpPr>
        <p:spPr>
          <a:xfrm>
            <a:off x="360000" y="2137047"/>
            <a:ext cx="8106019" cy="553998"/>
          </a:xfrm>
          <a:prstGeom prst="rect">
            <a:avLst/>
          </a:prstGeom>
        </p:spPr>
        <p:txBody>
          <a:bodyPr lIns="0" tIns="0" rIns="0" bIns="0" anchor="t">
            <a:spAutoFit/>
          </a:bodyPr>
          <a:lstStyle>
            <a:lvl1pPr algn="l">
              <a:defRPr sz="3600" b="1">
                <a:solidFill>
                  <a:schemeClr val="bg1"/>
                </a:solidFill>
                <a:latin typeface="Verdana" panose="020B0604030504040204" pitchFamily="34" charset="0"/>
                <a:ea typeface="Verdana" panose="020B0604030504040204" pitchFamily="34" charset="0"/>
                <a:cs typeface="Open Sans" panose="020B0606030504020204" pitchFamily="34" charset="0"/>
              </a:defRPr>
            </a:lvl1pPr>
          </a:lstStyle>
          <a:p>
            <a:r>
              <a:rPr lang="de-DE" dirty="0"/>
              <a:t>Mastertitelformat bearbeiten</a:t>
            </a:r>
          </a:p>
        </p:txBody>
      </p:sp>
      <p:sp>
        <p:nvSpPr>
          <p:cNvPr id="2" name="Textfeld 1">
            <a:extLst>
              <a:ext uri="{FF2B5EF4-FFF2-40B4-BE49-F238E27FC236}">
                <a16:creationId xmlns:a16="http://schemas.microsoft.com/office/drawing/2014/main" id="{CA3CCA31-5E7E-5C42-8B7E-C5C6A0F4EFAF}"/>
              </a:ext>
            </a:extLst>
          </p:cNvPr>
          <p:cNvSpPr txBox="1"/>
          <p:nvPr userDrawn="1"/>
        </p:nvSpPr>
        <p:spPr>
          <a:xfrm>
            <a:off x="944033" y="1227667"/>
            <a:ext cx="0" cy="0"/>
          </a:xfrm>
          <a:prstGeom prst="rect">
            <a:avLst/>
          </a:prstGeom>
          <a:noFill/>
        </p:spPr>
        <p:txBody>
          <a:bodyPr vert="horz" wrap="none" rtlCol="0" anchor="t">
            <a:noAutofit/>
          </a:bodyPr>
          <a:lstStyle/>
          <a:p>
            <a:pPr algn="l" rtl="0" eaLnBrk="1" fontAlgn="auto" hangingPunct="1">
              <a:lnSpc>
                <a:spcPct val="100000"/>
              </a:lnSpc>
              <a:spcBef>
                <a:spcPts val="0"/>
              </a:spcBef>
              <a:spcAft>
                <a:spcPts val="0"/>
              </a:spcAft>
            </a:pPr>
            <a:endParaRPr lang="de-DE" sz="1100" b="0" i="0" u="none" baseline="0" dirty="0">
              <a:solidFill>
                <a:srgbClr val="646464"/>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fik 3">
            <a:extLst>
              <a:ext uri="{FF2B5EF4-FFF2-40B4-BE49-F238E27FC236}">
                <a16:creationId xmlns:a16="http://schemas.microsoft.com/office/drawing/2014/main" id="{F3438739-DE3D-5031-44FF-A1EBCFAAE6A1}"/>
              </a:ext>
            </a:extLst>
          </p:cNvPr>
          <p:cNvPicPr>
            <a:picLocks noChangeAspect="1"/>
          </p:cNvPicPr>
          <p:nvPr userDrawn="1"/>
        </p:nvPicPr>
        <p:blipFill rotWithShape="1">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8225" t="23238" r="8170" b="26410"/>
          <a:stretch/>
        </p:blipFill>
        <p:spPr>
          <a:xfrm>
            <a:off x="7449937" y="328598"/>
            <a:ext cx="1349620" cy="457200"/>
          </a:xfrm>
          <a:prstGeom prst="rect">
            <a:avLst/>
          </a:prstGeom>
        </p:spPr>
      </p:pic>
    </p:spTree>
    <p:extLst>
      <p:ext uri="{BB962C8B-B14F-4D97-AF65-F5344CB8AC3E}">
        <p14:creationId xmlns:p14="http://schemas.microsoft.com/office/powerpoint/2010/main" val="1999298162"/>
      </p:ext>
    </p:extLst>
  </p:cSld>
  <p:clrMapOvr>
    <a:masterClrMapping/>
  </p:clrMapOvr>
  <p:transition spd="slow">
    <p:push/>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ndardfolie mit 2 Textfeldern">
    <p:spTree>
      <p:nvGrpSpPr>
        <p:cNvPr id="1" name=""/>
        <p:cNvGrpSpPr/>
        <p:nvPr/>
      </p:nvGrpSpPr>
      <p:grpSpPr>
        <a:xfrm>
          <a:off x="0" y="0"/>
          <a:ext cx="0" cy="0"/>
          <a:chOff x="0" y="0"/>
          <a:chExt cx="0" cy="0"/>
        </a:xfrm>
      </p:grpSpPr>
      <p:sp>
        <p:nvSpPr>
          <p:cNvPr id="11" name="Textfeld 10">
            <a:extLst>
              <a:ext uri="{FF2B5EF4-FFF2-40B4-BE49-F238E27FC236}">
                <a16:creationId xmlns:a16="http://schemas.microsoft.com/office/drawing/2014/main" id="{33B84240-964B-4F15-BB57-A7EFA5676551}"/>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17" name="Textfeld 16">
            <a:extLst>
              <a:ext uri="{FF2B5EF4-FFF2-40B4-BE49-F238E27FC236}">
                <a16:creationId xmlns:a16="http://schemas.microsoft.com/office/drawing/2014/main" id="{D4DD0C35-6D28-482A-9E48-E239BB53A5D7}"/>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33" name="Textplatzhalter 6">
            <a:extLst>
              <a:ext uri="{FF2B5EF4-FFF2-40B4-BE49-F238E27FC236}">
                <a16:creationId xmlns:a16="http://schemas.microsoft.com/office/drawing/2014/main" id="{30AF8504-5A60-4136-AAFF-A22D5227A79C}"/>
              </a:ext>
            </a:extLst>
          </p:cNvPr>
          <p:cNvSpPr>
            <a:spLocks noGrp="1"/>
          </p:cNvSpPr>
          <p:nvPr>
            <p:ph type="body" sz="quarter" idx="13"/>
          </p:nvPr>
        </p:nvSpPr>
        <p:spPr>
          <a:xfrm>
            <a:off x="358358" y="342258"/>
            <a:ext cx="6721230" cy="531499"/>
          </a:xfrm>
          <a:prstGeom prst="rect">
            <a:avLst/>
          </a:prstGeom>
        </p:spPr>
        <p:txBody>
          <a:bodyPr lIns="0" tIns="0" rIns="0" bIns="0" anchor="t"/>
          <a:lstStyle>
            <a:lvl1pPr marL="0" indent="0">
              <a:spcBef>
                <a:spcPts val="0"/>
              </a:spcBef>
              <a:spcAft>
                <a:spcPts val="0"/>
              </a:spcAft>
              <a:buFontTx/>
              <a:buNone/>
              <a:defRPr sz="2000" b="1">
                <a:solidFill>
                  <a:schemeClr val="tx1"/>
                </a:solidFill>
                <a:latin typeface="Verdana" panose="020B0604030504040204" pitchFamily="34" charset="0"/>
                <a:ea typeface="Verdana" panose="020B0604030504040204" pitchFamily="34" charset="0"/>
                <a:cs typeface="Open Sans" panose="020B0606030504020204" pitchFamily="34" charset="0"/>
              </a:defRPr>
            </a:lvl1pPr>
            <a:lvl2pPr marL="0" indent="0">
              <a:lnSpc>
                <a:spcPct val="125000"/>
              </a:lnSpc>
              <a:spcBef>
                <a:spcPts val="0"/>
              </a:spcBef>
              <a:buFontTx/>
              <a:buNone/>
              <a:defRPr sz="1300">
                <a:solidFill>
                  <a:schemeClr val="bg2"/>
                </a:solidFill>
                <a:latin typeface="Verdana" panose="020B0604030504040204" pitchFamily="34" charset="0"/>
                <a:ea typeface="Verdana" panose="020B0604030504040204" pitchFamily="34" charset="0"/>
                <a:cs typeface="Open Sans" panose="020B0606030504020204" pitchFamily="34" charset="0"/>
              </a:defRPr>
            </a:lvl2pPr>
          </a:lstStyle>
          <a:p>
            <a:pPr lvl="0"/>
            <a:r>
              <a:rPr lang="de-DE" dirty="0"/>
              <a:t>Mastertextformat bearbeiten</a:t>
            </a:r>
          </a:p>
          <a:p>
            <a:pPr lvl="1"/>
            <a:r>
              <a:rPr lang="de-DE" dirty="0"/>
              <a:t>Zweite Ebene</a:t>
            </a:r>
          </a:p>
        </p:txBody>
      </p:sp>
      <p:sp>
        <p:nvSpPr>
          <p:cNvPr id="34" name="Gleichschenkliges Dreieck 33">
            <a:extLst>
              <a:ext uri="{FF2B5EF4-FFF2-40B4-BE49-F238E27FC236}">
                <a16:creationId xmlns:a16="http://schemas.microsoft.com/office/drawing/2014/main" id="{1C1A7142-CADC-4128-B1DF-DDC9BE02F98D}"/>
              </a:ext>
            </a:extLst>
          </p:cNvPr>
          <p:cNvSpPr/>
          <p:nvPr userDrawn="1"/>
        </p:nvSpPr>
        <p:spPr>
          <a:xfrm rot="5400000">
            <a:off x="-43607" y="416079"/>
            <a:ext cx="236438" cy="149225"/>
          </a:xfrm>
          <a:prstGeom prst="triangle">
            <a:avLst/>
          </a:prstGeom>
          <a:solidFill>
            <a:srgbClr val="C00C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1" name="Textplatzhalter 16">
            <a:extLst>
              <a:ext uri="{FF2B5EF4-FFF2-40B4-BE49-F238E27FC236}">
                <a16:creationId xmlns:a16="http://schemas.microsoft.com/office/drawing/2014/main" id="{DE51EF1A-A2F9-6142-9766-26A7C724CEE4}"/>
              </a:ext>
            </a:extLst>
          </p:cNvPr>
          <p:cNvSpPr>
            <a:spLocks noGrp="1"/>
          </p:cNvSpPr>
          <p:nvPr>
            <p:ph type="body" sz="quarter" idx="18"/>
          </p:nvPr>
        </p:nvSpPr>
        <p:spPr>
          <a:xfrm>
            <a:off x="359999" y="1328826"/>
            <a:ext cx="4113969" cy="3454913"/>
          </a:xfrm>
          <a:prstGeom prst="rect">
            <a:avLst/>
          </a:prstGeom>
          <a:noFill/>
          <a:effectLst/>
        </p:spPr>
        <p:txBody>
          <a:bodyPr lIns="0" tIns="0" rIns="0" bIns="0"/>
          <a:lstStyle>
            <a:lvl1pPr>
              <a:spcBef>
                <a:spcPts val="0"/>
              </a:spcBef>
              <a:spcAft>
                <a:spcPts val="600"/>
              </a:spcAft>
              <a:defRPr sz="1200">
                <a:solidFill>
                  <a:srgbClr val="C00C0F"/>
                </a:solidFill>
                <a:latin typeface="Verdana" panose="020B0604030504040204" pitchFamily="34" charset="0"/>
                <a:ea typeface="Verdana" panose="020B0604030504040204" pitchFamily="34" charset="0"/>
              </a:defRPr>
            </a:lvl1pPr>
            <a:lvl2pPr marL="0" indent="0">
              <a:spcBef>
                <a:spcPts val="0"/>
              </a:spcBef>
              <a:buNone/>
              <a:defRPr sz="1200">
                <a:solidFill>
                  <a:schemeClr val="tx1"/>
                </a:solidFill>
                <a:latin typeface="Verdana" panose="020B0604030504040204" pitchFamily="34" charset="0"/>
                <a:ea typeface="Verdana" panose="020B0604030504040204" pitchFamily="34" charset="0"/>
              </a:defRPr>
            </a:lvl2pPr>
            <a:lvl3pPr marL="108000" indent="-108000">
              <a:spcBef>
                <a:spcPts val="100"/>
              </a:spcBef>
              <a:spcAft>
                <a:spcPts val="0"/>
              </a:spcAft>
              <a:buClr>
                <a:srgbClr val="C00C0F"/>
              </a:buClr>
              <a:buSzPct val="100000"/>
              <a:buFont typeface="Wingdings" pitchFamily="2" charset="2"/>
              <a:buChar char="§"/>
              <a:defRPr lang="de-DE" sz="1200" b="0" kern="1200" dirty="0" smtClean="0">
                <a:solidFill>
                  <a:schemeClr val="tx1"/>
                </a:solidFill>
                <a:latin typeface="Verdana" panose="020B0604030504040204" pitchFamily="34" charset="0"/>
                <a:ea typeface="Verdana" panose="020B0604030504040204" pitchFamily="34" charset="0"/>
                <a:cs typeface="+mn-cs"/>
              </a:defRPr>
            </a:lvl3pPr>
          </a:lstStyle>
          <a:p>
            <a:pPr lvl="0"/>
            <a:r>
              <a:rPr lang="de-DE" dirty="0"/>
              <a:t>Mastertextformat bearbeiten</a:t>
            </a:r>
          </a:p>
          <a:p>
            <a:pPr lvl="1"/>
            <a:r>
              <a:rPr lang="de-DE" dirty="0"/>
              <a:t>Zweite Ebene</a:t>
            </a:r>
          </a:p>
          <a:p>
            <a:pPr lvl="2"/>
            <a:r>
              <a:rPr lang="de-DE" dirty="0"/>
              <a:t>Dritte Ebene</a:t>
            </a:r>
          </a:p>
        </p:txBody>
      </p:sp>
      <p:sp>
        <p:nvSpPr>
          <p:cNvPr id="22" name="Textplatzhalter 16">
            <a:extLst>
              <a:ext uri="{FF2B5EF4-FFF2-40B4-BE49-F238E27FC236}">
                <a16:creationId xmlns:a16="http://schemas.microsoft.com/office/drawing/2014/main" id="{19D0AE34-745C-8644-96D5-2E2164DBB064}"/>
              </a:ext>
            </a:extLst>
          </p:cNvPr>
          <p:cNvSpPr>
            <a:spLocks noGrp="1"/>
          </p:cNvSpPr>
          <p:nvPr>
            <p:ph type="body" sz="quarter" idx="19"/>
          </p:nvPr>
        </p:nvSpPr>
        <p:spPr>
          <a:xfrm>
            <a:off x="4666756" y="1328826"/>
            <a:ext cx="4113969" cy="3454913"/>
          </a:xfrm>
          <a:prstGeom prst="rect">
            <a:avLst/>
          </a:prstGeom>
          <a:noFill/>
          <a:effectLst/>
        </p:spPr>
        <p:txBody>
          <a:bodyPr lIns="0" tIns="0" rIns="0" bIns="0"/>
          <a:lstStyle>
            <a:lvl1pPr>
              <a:spcBef>
                <a:spcPts val="0"/>
              </a:spcBef>
              <a:spcAft>
                <a:spcPts val="600"/>
              </a:spcAft>
              <a:defRPr sz="1200">
                <a:solidFill>
                  <a:srgbClr val="C00C0F"/>
                </a:solidFill>
                <a:latin typeface="Verdana" panose="020B0604030504040204" pitchFamily="34" charset="0"/>
                <a:ea typeface="Verdana" panose="020B0604030504040204" pitchFamily="34" charset="0"/>
              </a:defRPr>
            </a:lvl1pPr>
            <a:lvl2pPr marL="0" indent="0">
              <a:spcBef>
                <a:spcPts val="0"/>
              </a:spcBef>
              <a:buNone/>
              <a:defRPr sz="1200">
                <a:solidFill>
                  <a:schemeClr val="tx1"/>
                </a:solidFill>
                <a:latin typeface="Verdana" panose="020B0604030504040204" pitchFamily="34" charset="0"/>
                <a:ea typeface="Verdana" panose="020B0604030504040204" pitchFamily="34" charset="0"/>
              </a:defRPr>
            </a:lvl2pPr>
            <a:lvl3pPr marL="108000" indent="-108000">
              <a:spcBef>
                <a:spcPts val="100"/>
              </a:spcBef>
              <a:spcAft>
                <a:spcPts val="0"/>
              </a:spcAft>
              <a:buClr>
                <a:srgbClr val="C00C0F"/>
              </a:buClr>
              <a:buSzPct val="100000"/>
              <a:buFont typeface="Wingdings" pitchFamily="2" charset="2"/>
              <a:buChar char="§"/>
              <a:defRPr lang="de-DE" sz="1200" b="0" kern="1200" dirty="0" smtClean="0">
                <a:solidFill>
                  <a:schemeClr val="tx1"/>
                </a:solidFill>
                <a:latin typeface="Verdana" panose="020B0604030504040204" pitchFamily="34" charset="0"/>
                <a:ea typeface="Verdana" panose="020B0604030504040204" pitchFamily="34" charset="0"/>
                <a:cs typeface="+mn-cs"/>
              </a:defRPr>
            </a:lvl3pPr>
          </a:lstStyle>
          <a:p>
            <a:pPr lvl="0"/>
            <a:r>
              <a:rPr lang="de-DE" dirty="0"/>
              <a:t>Mastertextformat bearbeiten</a:t>
            </a:r>
          </a:p>
          <a:p>
            <a:pPr lvl="1"/>
            <a:r>
              <a:rPr lang="de-DE" dirty="0"/>
              <a:t>Zweite Ebene</a:t>
            </a:r>
          </a:p>
          <a:p>
            <a:pPr lvl="2"/>
            <a:r>
              <a:rPr lang="de-DE" dirty="0"/>
              <a:t>Dritte Ebene</a:t>
            </a:r>
          </a:p>
        </p:txBody>
      </p:sp>
      <p:pic>
        <p:nvPicPr>
          <p:cNvPr id="4" name="Grafik 3">
            <a:extLst>
              <a:ext uri="{FF2B5EF4-FFF2-40B4-BE49-F238E27FC236}">
                <a16:creationId xmlns:a16="http://schemas.microsoft.com/office/drawing/2014/main" id="{EB0FDF2D-27DF-6A87-223F-DB2B86109BFC}"/>
              </a:ext>
            </a:extLst>
          </p:cNvPr>
          <p:cNvPicPr>
            <a:picLocks noChangeAspect="1"/>
          </p:cNvPicPr>
          <p:nvPr userDrawn="1"/>
        </p:nvPicPr>
        <p:blipFill rotWithShape="1">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7625" t="22851" r="6862" b="24377"/>
          <a:stretch/>
        </p:blipFill>
        <p:spPr>
          <a:xfrm>
            <a:off x="7440686" y="314940"/>
            <a:ext cx="1382636" cy="479960"/>
          </a:xfrm>
          <a:prstGeom prst="rect">
            <a:avLst/>
          </a:prstGeom>
        </p:spPr>
      </p:pic>
    </p:spTree>
    <p:extLst>
      <p:ext uri="{BB962C8B-B14F-4D97-AF65-F5344CB8AC3E}">
        <p14:creationId xmlns:p14="http://schemas.microsoft.com/office/powerpoint/2010/main" val="3503888645"/>
      </p:ext>
    </p:extLst>
  </p:cSld>
  <p:clrMapOvr>
    <a:masterClrMapping/>
  </p:clrMapOvr>
  <p:transition spd="slow">
    <p:push/>
  </p:transition>
  <p:extLst>
    <p:ext uri="{DCECCB84-F9BA-43D5-87BE-67443E8EF086}">
      <p15:sldGuideLst xmlns:p15="http://schemas.microsoft.com/office/powerpoint/2012/main">
        <p15:guide id="1" orient="horz" pos="826">
          <p15:clr>
            <a:srgbClr val="FBAE40"/>
          </p15:clr>
        </p15:guide>
        <p15:guide id="2" pos="28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ndardfolie mit 3 Textfeldern">
    <p:spTree>
      <p:nvGrpSpPr>
        <p:cNvPr id="1" name=""/>
        <p:cNvGrpSpPr/>
        <p:nvPr/>
      </p:nvGrpSpPr>
      <p:grpSpPr>
        <a:xfrm>
          <a:off x="0" y="0"/>
          <a:ext cx="0" cy="0"/>
          <a:chOff x="0" y="0"/>
          <a:chExt cx="0" cy="0"/>
        </a:xfrm>
      </p:grpSpPr>
      <p:sp>
        <p:nvSpPr>
          <p:cNvPr id="11" name="Textfeld 10">
            <a:extLst>
              <a:ext uri="{FF2B5EF4-FFF2-40B4-BE49-F238E27FC236}">
                <a16:creationId xmlns:a16="http://schemas.microsoft.com/office/drawing/2014/main" id="{33B84240-964B-4F15-BB57-A7EFA5676551}"/>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17" name="Textfeld 16">
            <a:extLst>
              <a:ext uri="{FF2B5EF4-FFF2-40B4-BE49-F238E27FC236}">
                <a16:creationId xmlns:a16="http://schemas.microsoft.com/office/drawing/2014/main" id="{D4DD0C35-6D28-482A-9E48-E239BB53A5D7}"/>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33" name="Textplatzhalter 6">
            <a:extLst>
              <a:ext uri="{FF2B5EF4-FFF2-40B4-BE49-F238E27FC236}">
                <a16:creationId xmlns:a16="http://schemas.microsoft.com/office/drawing/2014/main" id="{30AF8504-5A60-4136-AAFF-A22D5227A79C}"/>
              </a:ext>
            </a:extLst>
          </p:cNvPr>
          <p:cNvSpPr>
            <a:spLocks noGrp="1"/>
          </p:cNvSpPr>
          <p:nvPr>
            <p:ph type="body" sz="quarter" idx="13"/>
          </p:nvPr>
        </p:nvSpPr>
        <p:spPr>
          <a:xfrm>
            <a:off x="358358" y="342258"/>
            <a:ext cx="6721230" cy="531499"/>
          </a:xfrm>
          <a:prstGeom prst="rect">
            <a:avLst/>
          </a:prstGeom>
        </p:spPr>
        <p:txBody>
          <a:bodyPr lIns="0" tIns="0" rIns="0" bIns="0" anchor="t"/>
          <a:lstStyle>
            <a:lvl1pPr marL="0" indent="0">
              <a:spcBef>
                <a:spcPts val="0"/>
              </a:spcBef>
              <a:spcAft>
                <a:spcPts val="0"/>
              </a:spcAft>
              <a:buFontTx/>
              <a:buNone/>
              <a:defRPr sz="2000" b="1">
                <a:solidFill>
                  <a:schemeClr val="tx1"/>
                </a:solidFill>
                <a:latin typeface="Verdana" panose="020B0604030504040204" pitchFamily="34" charset="0"/>
                <a:ea typeface="Verdana" panose="020B0604030504040204" pitchFamily="34" charset="0"/>
                <a:cs typeface="Open Sans" panose="020B0606030504020204" pitchFamily="34" charset="0"/>
              </a:defRPr>
            </a:lvl1pPr>
            <a:lvl2pPr marL="0" indent="0">
              <a:lnSpc>
                <a:spcPct val="125000"/>
              </a:lnSpc>
              <a:spcBef>
                <a:spcPts val="0"/>
              </a:spcBef>
              <a:buFontTx/>
              <a:buNone/>
              <a:defRPr sz="1300">
                <a:solidFill>
                  <a:schemeClr val="bg2"/>
                </a:solidFill>
                <a:latin typeface="Verdana" panose="020B0604030504040204" pitchFamily="34" charset="0"/>
                <a:ea typeface="Verdana" panose="020B0604030504040204" pitchFamily="34" charset="0"/>
                <a:cs typeface="Open Sans" panose="020B0606030504020204" pitchFamily="34" charset="0"/>
              </a:defRPr>
            </a:lvl2pPr>
          </a:lstStyle>
          <a:p>
            <a:pPr lvl="0"/>
            <a:r>
              <a:rPr lang="de-DE" dirty="0"/>
              <a:t>Mastertextformat bearbeiten</a:t>
            </a:r>
          </a:p>
          <a:p>
            <a:pPr lvl="1"/>
            <a:r>
              <a:rPr lang="de-DE" dirty="0"/>
              <a:t>Zweite Ebene</a:t>
            </a:r>
          </a:p>
        </p:txBody>
      </p:sp>
      <p:sp>
        <p:nvSpPr>
          <p:cNvPr id="34" name="Gleichschenkliges Dreieck 33">
            <a:extLst>
              <a:ext uri="{FF2B5EF4-FFF2-40B4-BE49-F238E27FC236}">
                <a16:creationId xmlns:a16="http://schemas.microsoft.com/office/drawing/2014/main" id="{1C1A7142-CADC-4128-B1DF-DDC9BE02F98D}"/>
              </a:ext>
            </a:extLst>
          </p:cNvPr>
          <p:cNvSpPr/>
          <p:nvPr userDrawn="1"/>
        </p:nvSpPr>
        <p:spPr>
          <a:xfrm rot="5400000">
            <a:off x="-43607" y="416079"/>
            <a:ext cx="236438" cy="149225"/>
          </a:xfrm>
          <a:prstGeom prst="triangle">
            <a:avLst/>
          </a:prstGeom>
          <a:solidFill>
            <a:srgbClr val="C00C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1" name="Textplatzhalter 16">
            <a:extLst>
              <a:ext uri="{FF2B5EF4-FFF2-40B4-BE49-F238E27FC236}">
                <a16:creationId xmlns:a16="http://schemas.microsoft.com/office/drawing/2014/main" id="{DE51EF1A-A2F9-6142-9766-26A7C724CEE4}"/>
              </a:ext>
            </a:extLst>
          </p:cNvPr>
          <p:cNvSpPr>
            <a:spLocks noGrp="1"/>
          </p:cNvSpPr>
          <p:nvPr>
            <p:ph type="body" sz="quarter" idx="18"/>
          </p:nvPr>
        </p:nvSpPr>
        <p:spPr>
          <a:xfrm>
            <a:off x="359999" y="1328826"/>
            <a:ext cx="2686909" cy="3454913"/>
          </a:xfrm>
          <a:prstGeom prst="rect">
            <a:avLst/>
          </a:prstGeom>
          <a:noFill/>
          <a:effectLst/>
        </p:spPr>
        <p:txBody>
          <a:bodyPr lIns="0" tIns="0" rIns="0" bIns="0"/>
          <a:lstStyle>
            <a:lvl1pPr>
              <a:spcBef>
                <a:spcPts val="0"/>
              </a:spcBef>
              <a:spcAft>
                <a:spcPts val="600"/>
              </a:spcAft>
              <a:defRPr sz="1200">
                <a:solidFill>
                  <a:srgbClr val="C00C0F"/>
                </a:solidFill>
                <a:latin typeface="Verdana" panose="020B0604030504040204" pitchFamily="34" charset="0"/>
                <a:ea typeface="Verdana" panose="020B0604030504040204" pitchFamily="34" charset="0"/>
              </a:defRPr>
            </a:lvl1pPr>
            <a:lvl2pPr marL="0" indent="0">
              <a:spcBef>
                <a:spcPts val="0"/>
              </a:spcBef>
              <a:buNone/>
              <a:defRPr sz="1200">
                <a:solidFill>
                  <a:schemeClr val="tx1"/>
                </a:solidFill>
                <a:latin typeface="Verdana" panose="020B0604030504040204" pitchFamily="34" charset="0"/>
                <a:ea typeface="Verdana" panose="020B0604030504040204" pitchFamily="34" charset="0"/>
              </a:defRPr>
            </a:lvl2pPr>
            <a:lvl3pPr marL="108000" indent="-108000">
              <a:spcBef>
                <a:spcPts val="100"/>
              </a:spcBef>
              <a:spcAft>
                <a:spcPts val="0"/>
              </a:spcAft>
              <a:buClr>
                <a:srgbClr val="C00C0F"/>
              </a:buClr>
              <a:buSzPct val="100000"/>
              <a:buFont typeface="Wingdings" pitchFamily="2" charset="2"/>
              <a:buChar char="§"/>
              <a:defRPr lang="de-DE" sz="1200" b="0" kern="1200" dirty="0" smtClean="0">
                <a:solidFill>
                  <a:schemeClr val="tx1"/>
                </a:solidFill>
                <a:latin typeface="Verdana" panose="020B0604030504040204" pitchFamily="34" charset="0"/>
                <a:ea typeface="Verdana" panose="020B0604030504040204" pitchFamily="34" charset="0"/>
                <a:cs typeface="+mn-cs"/>
              </a:defRPr>
            </a:lvl3pPr>
          </a:lstStyle>
          <a:p>
            <a:pPr lvl="0"/>
            <a:r>
              <a:rPr lang="de-DE" dirty="0"/>
              <a:t>Mastertextformat bearbeiten</a:t>
            </a:r>
          </a:p>
          <a:p>
            <a:pPr lvl="1"/>
            <a:r>
              <a:rPr lang="de-DE" dirty="0"/>
              <a:t>Zweite Ebene</a:t>
            </a:r>
          </a:p>
          <a:p>
            <a:pPr lvl="2"/>
            <a:r>
              <a:rPr lang="de-DE" dirty="0"/>
              <a:t>Dritte Ebene</a:t>
            </a:r>
          </a:p>
        </p:txBody>
      </p:sp>
      <p:sp>
        <p:nvSpPr>
          <p:cNvPr id="22" name="Textplatzhalter 16">
            <a:extLst>
              <a:ext uri="{FF2B5EF4-FFF2-40B4-BE49-F238E27FC236}">
                <a16:creationId xmlns:a16="http://schemas.microsoft.com/office/drawing/2014/main" id="{19D0AE34-745C-8644-96D5-2E2164DBB064}"/>
              </a:ext>
            </a:extLst>
          </p:cNvPr>
          <p:cNvSpPr>
            <a:spLocks noGrp="1"/>
          </p:cNvSpPr>
          <p:nvPr>
            <p:ph type="body" sz="quarter" idx="19"/>
          </p:nvPr>
        </p:nvSpPr>
        <p:spPr>
          <a:xfrm>
            <a:off x="6093816" y="1328826"/>
            <a:ext cx="2686909" cy="3454913"/>
          </a:xfrm>
          <a:prstGeom prst="rect">
            <a:avLst/>
          </a:prstGeom>
          <a:noFill/>
          <a:effectLst/>
        </p:spPr>
        <p:txBody>
          <a:bodyPr lIns="0" tIns="0" rIns="0" bIns="0"/>
          <a:lstStyle>
            <a:lvl1pPr>
              <a:spcBef>
                <a:spcPts val="0"/>
              </a:spcBef>
              <a:spcAft>
                <a:spcPts val="600"/>
              </a:spcAft>
              <a:defRPr sz="1200">
                <a:solidFill>
                  <a:srgbClr val="C00C0F"/>
                </a:solidFill>
                <a:latin typeface="Verdana" panose="020B0604030504040204" pitchFamily="34" charset="0"/>
                <a:ea typeface="Verdana" panose="020B0604030504040204" pitchFamily="34" charset="0"/>
              </a:defRPr>
            </a:lvl1pPr>
            <a:lvl2pPr marL="0" indent="0">
              <a:spcBef>
                <a:spcPts val="0"/>
              </a:spcBef>
              <a:buNone/>
              <a:defRPr sz="1200">
                <a:solidFill>
                  <a:schemeClr val="tx1"/>
                </a:solidFill>
                <a:latin typeface="Verdana" panose="020B0604030504040204" pitchFamily="34" charset="0"/>
                <a:ea typeface="Verdana" panose="020B0604030504040204" pitchFamily="34" charset="0"/>
              </a:defRPr>
            </a:lvl2pPr>
            <a:lvl3pPr marL="108000" indent="-108000">
              <a:spcBef>
                <a:spcPts val="100"/>
              </a:spcBef>
              <a:spcAft>
                <a:spcPts val="0"/>
              </a:spcAft>
              <a:buClr>
                <a:srgbClr val="C00C0F"/>
              </a:buClr>
              <a:buSzPct val="100000"/>
              <a:buFont typeface="Wingdings" pitchFamily="2" charset="2"/>
              <a:buChar char="§"/>
              <a:defRPr lang="de-DE" sz="1200" b="0" kern="1200" dirty="0" smtClean="0">
                <a:solidFill>
                  <a:schemeClr val="tx1"/>
                </a:solidFill>
                <a:latin typeface="Verdana" panose="020B0604030504040204" pitchFamily="34" charset="0"/>
                <a:ea typeface="Verdana" panose="020B0604030504040204" pitchFamily="34" charset="0"/>
                <a:cs typeface="+mn-cs"/>
              </a:defRPr>
            </a:lvl3pPr>
          </a:lstStyle>
          <a:p>
            <a:pPr lvl="0"/>
            <a:r>
              <a:rPr lang="de-DE" dirty="0"/>
              <a:t>Mastertextformat bearbeiten</a:t>
            </a:r>
          </a:p>
          <a:p>
            <a:pPr lvl="1"/>
            <a:r>
              <a:rPr lang="de-DE" dirty="0"/>
              <a:t>Zweite Ebene</a:t>
            </a:r>
          </a:p>
          <a:p>
            <a:pPr lvl="2"/>
            <a:r>
              <a:rPr lang="de-DE" dirty="0"/>
              <a:t>Dritte Ebene</a:t>
            </a:r>
          </a:p>
        </p:txBody>
      </p:sp>
      <p:sp>
        <p:nvSpPr>
          <p:cNvPr id="19" name="Textplatzhalter 16">
            <a:extLst>
              <a:ext uri="{FF2B5EF4-FFF2-40B4-BE49-F238E27FC236}">
                <a16:creationId xmlns:a16="http://schemas.microsoft.com/office/drawing/2014/main" id="{8E890890-E725-42FB-AB6F-2025648BB295}"/>
              </a:ext>
            </a:extLst>
          </p:cNvPr>
          <p:cNvSpPr>
            <a:spLocks noGrp="1"/>
          </p:cNvSpPr>
          <p:nvPr>
            <p:ph type="body" sz="quarter" idx="20"/>
          </p:nvPr>
        </p:nvSpPr>
        <p:spPr>
          <a:xfrm>
            <a:off x="3226908" y="1328826"/>
            <a:ext cx="2686909" cy="3454913"/>
          </a:xfrm>
          <a:prstGeom prst="rect">
            <a:avLst/>
          </a:prstGeom>
          <a:noFill/>
          <a:effectLst/>
        </p:spPr>
        <p:txBody>
          <a:bodyPr lIns="0" tIns="0" rIns="0" bIns="0"/>
          <a:lstStyle>
            <a:lvl1pPr>
              <a:spcBef>
                <a:spcPts val="0"/>
              </a:spcBef>
              <a:spcAft>
                <a:spcPts val="600"/>
              </a:spcAft>
              <a:defRPr sz="1200">
                <a:solidFill>
                  <a:srgbClr val="C00C0F"/>
                </a:solidFill>
                <a:latin typeface="Verdana" panose="020B0604030504040204" pitchFamily="34" charset="0"/>
                <a:ea typeface="Verdana" panose="020B0604030504040204" pitchFamily="34" charset="0"/>
              </a:defRPr>
            </a:lvl1pPr>
            <a:lvl2pPr marL="0" indent="0">
              <a:spcBef>
                <a:spcPts val="0"/>
              </a:spcBef>
              <a:buNone/>
              <a:defRPr sz="1200">
                <a:solidFill>
                  <a:schemeClr val="tx1"/>
                </a:solidFill>
                <a:latin typeface="Verdana" panose="020B0604030504040204" pitchFamily="34" charset="0"/>
                <a:ea typeface="Verdana" panose="020B0604030504040204" pitchFamily="34" charset="0"/>
              </a:defRPr>
            </a:lvl2pPr>
            <a:lvl3pPr marL="108000" indent="-108000">
              <a:spcBef>
                <a:spcPts val="100"/>
              </a:spcBef>
              <a:spcAft>
                <a:spcPts val="0"/>
              </a:spcAft>
              <a:buClr>
                <a:srgbClr val="C00C0F"/>
              </a:buClr>
              <a:buSzPct val="100000"/>
              <a:buFont typeface="Wingdings" pitchFamily="2" charset="2"/>
              <a:buChar char="§"/>
              <a:defRPr lang="de-DE" sz="1200" b="0" kern="1200" dirty="0" smtClean="0">
                <a:solidFill>
                  <a:schemeClr val="tx1"/>
                </a:solidFill>
                <a:latin typeface="Verdana" panose="020B0604030504040204" pitchFamily="34" charset="0"/>
                <a:ea typeface="Verdana" panose="020B0604030504040204" pitchFamily="34" charset="0"/>
                <a:cs typeface="+mn-cs"/>
              </a:defRPr>
            </a:lvl3pPr>
          </a:lstStyle>
          <a:p>
            <a:pPr lvl="0"/>
            <a:r>
              <a:rPr lang="de-DE" dirty="0"/>
              <a:t>Mastertextformat bearbeiten</a:t>
            </a:r>
          </a:p>
          <a:p>
            <a:pPr lvl="1"/>
            <a:r>
              <a:rPr lang="de-DE" dirty="0"/>
              <a:t>Zweite Ebene</a:t>
            </a:r>
          </a:p>
          <a:p>
            <a:pPr lvl="2"/>
            <a:r>
              <a:rPr lang="de-DE" dirty="0"/>
              <a:t>Dritte Ebene</a:t>
            </a:r>
          </a:p>
        </p:txBody>
      </p:sp>
      <p:sp>
        <p:nvSpPr>
          <p:cNvPr id="3" name="Freeform: Shape 2">
            <a:extLst>
              <a:ext uri="{FF2B5EF4-FFF2-40B4-BE49-F238E27FC236}">
                <a16:creationId xmlns:a16="http://schemas.microsoft.com/office/drawing/2014/main" id="{59AE2C19-E116-B44D-D4B2-817C7DEE3F41}"/>
              </a:ext>
            </a:extLst>
          </p:cNvPr>
          <p:cNvSpPr/>
          <p:nvPr/>
        </p:nvSpPr>
        <p:spPr>
          <a:xfrm>
            <a:off x="7492716" y="795490"/>
            <a:ext cx="1193832" cy="271383"/>
          </a:xfrm>
          <a:custGeom>
            <a:avLst/>
            <a:gdLst>
              <a:gd name="connsiteX0" fmla="*/ 1011050 w 1193832"/>
              <a:gd name="connsiteY0" fmla="*/ 0 h 271383"/>
              <a:gd name="connsiteX1" fmla="*/ 1193833 w 1193832"/>
              <a:gd name="connsiteY1" fmla="*/ 0 h 271383"/>
              <a:gd name="connsiteX2" fmla="*/ 1193833 w 1193832"/>
              <a:gd name="connsiteY2" fmla="*/ 47892 h 271383"/>
              <a:gd name="connsiteX3" fmla="*/ 1071717 w 1193832"/>
              <a:gd name="connsiteY3" fmla="*/ 47892 h 271383"/>
              <a:gd name="connsiteX4" fmla="*/ 1071717 w 1193832"/>
              <a:gd name="connsiteY4" fmla="*/ 271384 h 271383"/>
              <a:gd name="connsiteX5" fmla="*/ 1011059 w 1193832"/>
              <a:gd name="connsiteY5" fmla="*/ 271384 h 271383"/>
              <a:gd name="connsiteX6" fmla="*/ 1011059 w 1193832"/>
              <a:gd name="connsiteY6" fmla="*/ 47892 h 271383"/>
              <a:gd name="connsiteX7" fmla="*/ 888943 w 1193832"/>
              <a:gd name="connsiteY7" fmla="*/ 47892 h 271383"/>
              <a:gd name="connsiteX8" fmla="*/ 888943 w 1193832"/>
              <a:gd name="connsiteY8" fmla="*/ 0 h 271383"/>
              <a:gd name="connsiteX9" fmla="*/ 1011059 w 1193832"/>
              <a:gd name="connsiteY9" fmla="*/ 0 h 271383"/>
              <a:gd name="connsiteX10" fmla="*/ 798567 w 1193832"/>
              <a:gd name="connsiteY10" fmla="*/ 0 h 271383"/>
              <a:gd name="connsiteX11" fmla="*/ 859225 w 1193832"/>
              <a:gd name="connsiteY11" fmla="*/ 0 h 271383"/>
              <a:gd name="connsiteX12" fmla="*/ 859225 w 1193832"/>
              <a:gd name="connsiteY12" fmla="*/ 271376 h 271383"/>
              <a:gd name="connsiteX13" fmla="*/ 798567 w 1193832"/>
              <a:gd name="connsiteY13" fmla="*/ 271376 h 271383"/>
              <a:gd name="connsiteX14" fmla="*/ 798567 w 1193832"/>
              <a:gd name="connsiteY14" fmla="*/ 0 h 271383"/>
              <a:gd name="connsiteX15" fmla="*/ 529576 w 1193832"/>
              <a:gd name="connsiteY15" fmla="*/ 116534 h 271383"/>
              <a:gd name="connsiteX16" fmla="*/ 669259 w 1193832"/>
              <a:gd name="connsiteY16" fmla="*/ 116534 h 271383"/>
              <a:gd name="connsiteX17" fmla="*/ 669259 w 1193832"/>
              <a:gd name="connsiteY17" fmla="*/ 234667 h 271383"/>
              <a:gd name="connsiteX18" fmla="*/ 529576 w 1193832"/>
              <a:gd name="connsiteY18" fmla="*/ 234667 h 271383"/>
              <a:gd name="connsiteX19" fmla="*/ 529576 w 1193832"/>
              <a:gd name="connsiteY19" fmla="*/ 116534 h 271383"/>
              <a:gd name="connsiteX20" fmla="*/ 524793 w 1193832"/>
              <a:gd name="connsiteY20" fmla="*/ 83328 h 271383"/>
              <a:gd name="connsiteX21" fmla="*/ 676442 w 1193832"/>
              <a:gd name="connsiteY21" fmla="*/ 83328 h 271383"/>
              <a:gd name="connsiteX22" fmla="*/ 711559 w 1193832"/>
              <a:gd name="connsiteY22" fmla="*/ 118445 h 271383"/>
              <a:gd name="connsiteX23" fmla="*/ 711559 w 1193832"/>
              <a:gd name="connsiteY23" fmla="*/ 233067 h 271383"/>
              <a:gd name="connsiteX24" fmla="*/ 676442 w 1193832"/>
              <a:gd name="connsiteY24" fmla="*/ 268184 h 271383"/>
              <a:gd name="connsiteX25" fmla="*/ 524793 w 1193832"/>
              <a:gd name="connsiteY25" fmla="*/ 268184 h 271383"/>
              <a:gd name="connsiteX26" fmla="*/ 489677 w 1193832"/>
              <a:gd name="connsiteY26" fmla="*/ 233067 h 271383"/>
              <a:gd name="connsiteX27" fmla="*/ 489677 w 1193832"/>
              <a:gd name="connsiteY27" fmla="*/ 118445 h 271383"/>
              <a:gd name="connsiteX28" fmla="*/ 524793 w 1193832"/>
              <a:gd name="connsiteY28" fmla="*/ 83328 h 271383"/>
              <a:gd name="connsiteX29" fmla="*/ 278953 w 1193832"/>
              <a:gd name="connsiteY29" fmla="*/ 115346 h 271383"/>
              <a:gd name="connsiteX30" fmla="*/ 377986 w 1193832"/>
              <a:gd name="connsiteY30" fmla="*/ 115346 h 271383"/>
              <a:gd name="connsiteX31" fmla="*/ 393489 w 1193832"/>
              <a:gd name="connsiteY31" fmla="*/ 130850 h 271383"/>
              <a:gd name="connsiteX32" fmla="*/ 393489 w 1193832"/>
              <a:gd name="connsiteY32" fmla="*/ 149435 h 271383"/>
              <a:gd name="connsiteX33" fmla="*/ 377986 w 1193832"/>
              <a:gd name="connsiteY33" fmla="*/ 164939 h 271383"/>
              <a:gd name="connsiteX34" fmla="*/ 278953 w 1193832"/>
              <a:gd name="connsiteY34" fmla="*/ 164939 h 271383"/>
              <a:gd name="connsiteX35" fmla="*/ 278953 w 1193832"/>
              <a:gd name="connsiteY35" fmla="*/ 115346 h 271383"/>
              <a:gd name="connsiteX36" fmla="*/ 240695 w 1193832"/>
              <a:gd name="connsiteY36" fmla="*/ 264512 h 271383"/>
              <a:gd name="connsiteX37" fmla="*/ 280603 w 1193832"/>
              <a:gd name="connsiteY37" fmla="*/ 264512 h 271383"/>
              <a:gd name="connsiteX38" fmla="*/ 280603 w 1193832"/>
              <a:gd name="connsiteY38" fmla="*/ 195955 h 271383"/>
              <a:gd name="connsiteX39" fmla="*/ 318364 w 1193832"/>
              <a:gd name="connsiteY39" fmla="*/ 195955 h 271383"/>
              <a:gd name="connsiteX40" fmla="*/ 395889 w 1193832"/>
              <a:gd name="connsiteY40" fmla="*/ 268184 h 271383"/>
              <a:gd name="connsiteX41" fmla="*/ 450964 w 1193832"/>
              <a:gd name="connsiteY41" fmla="*/ 268184 h 271383"/>
              <a:gd name="connsiteX42" fmla="*/ 373439 w 1193832"/>
              <a:gd name="connsiteY42" fmla="*/ 195955 h 271383"/>
              <a:gd name="connsiteX43" fmla="*/ 397001 w 1193832"/>
              <a:gd name="connsiteY43" fmla="*/ 195955 h 271383"/>
              <a:gd name="connsiteX44" fmla="*/ 432210 w 1193832"/>
              <a:gd name="connsiteY44" fmla="*/ 160745 h 271383"/>
              <a:gd name="connsiteX45" fmla="*/ 432210 w 1193832"/>
              <a:gd name="connsiteY45" fmla="*/ 118529 h 271383"/>
              <a:gd name="connsiteX46" fmla="*/ 397001 w 1193832"/>
              <a:gd name="connsiteY46" fmla="*/ 83320 h 271383"/>
              <a:gd name="connsiteX47" fmla="*/ 240695 w 1193832"/>
              <a:gd name="connsiteY47" fmla="*/ 83320 h 271383"/>
              <a:gd name="connsiteX48" fmla="*/ 240695 w 1193832"/>
              <a:gd name="connsiteY48" fmla="*/ 264504 h 271383"/>
              <a:gd name="connsiteX49" fmla="*/ 38266 w 1193832"/>
              <a:gd name="connsiteY49" fmla="*/ 115346 h 271383"/>
              <a:gd name="connsiteX50" fmla="*/ 137299 w 1193832"/>
              <a:gd name="connsiteY50" fmla="*/ 115346 h 271383"/>
              <a:gd name="connsiteX51" fmla="*/ 152803 w 1193832"/>
              <a:gd name="connsiteY51" fmla="*/ 130850 h 271383"/>
              <a:gd name="connsiteX52" fmla="*/ 152803 w 1193832"/>
              <a:gd name="connsiteY52" fmla="*/ 149435 h 271383"/>
              <a:gd name="connsiteX53" fmla="*/ 137299 w 1193832"/>
              <a:gd name="connsiteY53" fmla="*/ 164939 h 271383"/>
              <a:gd name="connsiteX54" fmla="*/ 38266 w 1193832"/>
              <a:gd name="connsiteY54" fmla="*/ 164939 h 271383"/>
              <a:gd name="connsiteX55" fmla="*/ 38266 w 1193832"/>
              <a:gd name="connsiteY55" fmla="*/ 115346 h 271383"/>
              <a:gd name="connsiteX56" fmla="*/ 0 w 1193832"/>
              <a:gd name="connsiteY56" fmla="*/ 264512 h 271383"/>
              <a:gd name="connsiteX57" fmla="*/ 39908 w 1193832"/>
              <a:gd name="connsiteY57" fmla="*/ 264512 h 271383"/>
              <a:gd name="connsiteX58" fmla="*/ 39908 w 1193832"/>
              <a:gd name="connsiteY58" fmla="*/ 195955 h 271383"/>
              <a:gd name="connsiteX59" fmla="*/ 156306 w 1193832"/>
              <a:gd name="connsiteY59" fmla="*/ 195955 h 271383"/>
              <a:gd name="connsiteX60" fmla="*/ 191515 w 1193832"/>
              <a:gd name="connsiteY60" fmla="*/ 160745 h 271383"/>
              <a:gd name="connsiteX61" fmla="*/ 191515 w 1193832"/>
              <a:gd name="connsiteY61" fmla="*/ 118529 h 271383"/>
              <a:gd name="connsiteX62" fmla="*/ 156306 w 1193832"/>
              <a:gd name="connsiteY62" fmla="*/ 83320 h 271383"/>
              <a:gd name="connsiteX63" fmla="*/ 0 w 1193832"/>
              <a:gd name="connsiteY63" fmla="*/ 83320 h 271383"/>
              <a:gd name="connsiteX64" fmla="*/ 0 w 1193832"/>
              <a:gd name="connsiteY64" fmla="*/ 264504 h 27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193832" h="271383">
                <a:moveTo>
                  <a:pt x="1011050" y="0"/>
                </a:moveTo>
                <a:lnTo>
                  <a:pt x="1193833" y="0"/>
                </a:lnTo>
                <a:lnTo>
                  <a:pt x="1193833" y="47892"/>
                </a:lnTo>
                <a:lnTo>
                  <a:pt x="1071717" y="47892"/>
                </a:lnTo>
                <a:lnTo>
                  <a:pt x="1071717" y="271384"/>
                </a:lnTo>
                <a:lnTo>
                  <a:pt x="1011059" y="271384"/>
                </a:lnTo>
                <a:lnTo>
                  <a:pt x="1011059" y="47892"/>
                </a:lnTo>
                <a:lnTo>
                  <a:pt x="888943" y="47892"/>
                </a:lnTo>
                <a:lnTo>
                  <a:pt x="888943" y="0"/>
                </a:lnTo>
                <a:lnTo>
                  <a:pt x="1011059" y="0"/>
                </a:lnTo>
                <a:close/>
                <a:moveTo>
                  <a:pt x="798567" y="0"/>
                </a:moveTo>
                <a:lnTo>
                  <a:pt x="859225" y="0"/>
                </a:lnTo>
                <a:lnTo>
                  <a:pt x="859225" y="271376"/>
                </a:lnTo>
                <a:lnTo>
                  <a:pt x="798567" y="271376"/>
                </a:lnTo>
                <a:lnTo>
                  <a:pt x="798567" y="0"/>
                </a:lnTo>
                <a:close/>
                <a:moveTo>
                  <a:pt x="529576" y="116534"/>
                </a:moveTo>
                <a:lnTo>
                  <a:pt x="669259" y="116534"/>
                </a:lnTo>
                <a:lnTo>
                  <a:pt x="669259" y="234667"/>
                </a:lnTo>
                <a:lnTo>
                  <a:pt x="529576" y="234667"/>
                </a:lnTo>
                <a:lnTo>
                  <a:pt x="529576" y="116534"/>
                </a:lnTo>
                <a:close/>
                <a:moveTo>
                  <a:pt x="524793" y="83328"/>
                </a:moveTo>
                <a:lnTo>
                  <a:pt x="676442" y="83328"/>
                </a:lnTo>
                <a:cubicBezTo>
                  <a:pt x="695760" y="83328"/>
                  <a:pt x="711559" y="99135"/>
                  <a:pt x="711559" y="118445"/>
                </a:cubicBezTo>
                <a:lnTo>
                  <a:pt x="711559" y="233067"/>
                </a:lnTo>
                <a:cubicBezTo>
                  <a:pt x="711559" y="252386"/>
                  <a:pt x="695752" y="268184"/>
                  <a:pt x="676442" y="268184"/>
                </a:cubicBezTo>
                <a:lnTo>
                  <a:pt x="524793" y="268184"/>
                </a:lnTo>
                <a:cubicBezTo>
                  <a:pt x="505475" y="268184"/>
                  <a:pt x="489677" y="252386"/>
                  <a:pt x="489677" y="233067"/>
                </a:cubicBezTo>
                <a:lnTo>
                  <a:pt x="489677" y="118445"/>
                </a:lnTo>
                <a:cubicBezTo>
                  <a:pt x="489677" y="99127"/>
                  <a:pt x="505483" y="83328"/>
                  <a:pt x="524793" y="83328"/>
                </a:cubicBezTo>
                <a:close/>
                <a:moveTo>
                  <a:pt x="278953" y="115346"/>
                </a:moveTo>
                <a:lnTo>
                  <a:pt x="377986" y="115346"/>
                </a:lnTo>
                <a:cubicBezTo>
                  <a:pt x="386508" y="115346"/>
                  <a:pt x="393489" y="122319"/>
                  <a:pt x="393489" y="130850"/>
                </a:cubicBezTo>
                <a:lnTo>
                  <a:pt x="393489" y="149435"/>
                </a:lnTo>
                <a:cubicBezTo>
                  <a:pt x="393489" y="157958"/>
                  <a:pt x="386517" y="164939"/>
                  <a:pt x="377986" y="164939"/>
                </a:cubicBezTo>
                <a:lnTo>
                  <a:pt x="278953" y="164939"/>
                </a:lnTo>
                <a:lnTo>
                  <a:pt x="278953" y="115346"/>
                </a:lnTo>
                <a:close/>
                <a:moveTo>
                  <a:pt x="240695" y="264512"/>
                </a:moveTo>
                <a:lnTo>
                  <a:pt x="280603" y="264512"/>
                </a:lnTo>
                <a:lnTo>
                  <a:pt x="280603" y="195955"/>
                </a:lnTo>
                <a:lnTo>
                  <a:pt x="318364" y="195955"/>
                </a:lnTo>
                <a:lnTo>
                  <a:pt x="395889" y="268184"/>
                </a:lnTo>
                <a:lnTo>
                  <a:pt x="450964" y="268184"/>
                </a:lnTo>
                <a:lnTo>
                  <a:pt x="373439" y="195955"/>
                </a:lnTo>
                <a:lnTo>
                  <a:pt x="397001" y="195955"/>
                </a:lnTo>
                <a:cubicBezTo>
                  <a:pt x="416370" y="195955"/>
                  <a:pt x="432210" y="180106"/>
                  <a:pt x="432210" y="160745"/>
                </a:cubicBezTo>
                <a:lnTo>
                  <a:pt x="432210" y="118529"/>
                </a:lnTo>
                <a:cubicBezTo>
                  <a:pt x="432210" y="99169"/>
                  <a:pt x="416370" y="83320"/>
                  <a:pt x="397001" y="83320"/>
                </a:cubicBezTo>
                <a:lnTo>
                  <a:pt x="240695" y="83320"/>
                </a:lnTo>
                <a:lnTo>
                  <a:pt x="240695" y="264504"/>
                </a:lnTo>
                <a:close/>
                <a:moveTo>
                  <a:pt x="38266" y="115346"/>
                </a:moveTo>
                <a:lnTo>
                  <a:pt x="137299" y="115346"/>
                </a:lnTo>
                <a:cubicBezTo>
                  <a:pt x="145822" y="115346"/>
                  <a:pt x="152803" y="122319"/>
                  <a:pt x="152803" y="130850"/>
                </a:cubicBezTo>
                <a:lnTo>
                  <a:pt x="152803" y="149435"/>
                </a:lnTo>
                <a:cubicBezTo>
                  <a:pt x="152803" y="157966"/>
                  <a:pt x="145830" y="164939"/>
                  <a:pt x="137299" y="164939"/>
                </a:cubicBezTo>
                <a:lnTo>
                  <a:pt x="38266" y="164939"/>
                </a:lnTo>
                <a:lnTo>
                  <a:pt x="38266" y="115346"/>
                </a:lnTo>
                <a:close/>
                <a:moveTo>
                  <a:pt x="0" y="264512"/>
                </a:moveTo>
                <a:lnTo>
                  <a:pt x="39908" y="264512"/>
                </a:lnTo>
                <a:lnTo>
                  <a:pt x="39908" y="195955"/>
                </a:lnTo>
                <a:lnTo>
                  <a:pt x="156306" y="195955"/>
                </a:lnTo>
                <a:cubicBezTo>
                  <a:pt x="175675" y="195955"/>
                  <a:pt x="191515" y="180106"/>
                  <a:pt x="191515" y="160745"/>
                </a:cubicBezTo>
                <a:lnTo>
                  <a:pt x="191515" y="118529"/>
                </a:lnTo>
                <a:cubicBezTo>
                  <a:pt x="191515" y="99169"/>
                  <a:pt x="175675" y="83320"/>
                  <a:pt x="156306" y="83320"/>
                </a:cubicBezTo>
                <a:lnTo>
                  <a:pt x="0" y="83320"/>
                </a:lnTo>
                <a:lnTo>
                  <a:pt x="0" y="264504"/>
                </a:lnTo>
                <a:close/>
              </a:path>
            </a:pathLst>
          </a:custGeom>
          <a:solidFill>
            <a:srgbClr val="C00C0F"/>
          </a:solidFill>
          <a:ln w="0" cap="flat">
            <a:noFill/>
            <a:prstDash val="solid"/>
            <a:miter/>
          </a:ln>
        </p:spPr>
        <p:txBody>
          <a:bodyPr rtlCol="0" anchor="ctr"/>
          <a:lstStyle/>
          <a:p>
            <a:endParaRPr lang="en-US"/>
          </a:p>
        </p:txBody>
      </p:sp>
      <p:grpSp>
        <p:nvGrpSpPr>
          <p:cNvPr id="5" name="Grafik 3">
            <a:extLst>
              <a:ext uri="{FF2B5EF4-FFF2-40B4-BE49-F238E27FC236}">
                <a16:creationId xmlns:a16="http://schemas.microsoft.com/office/drawing/2014/main" id="{430AF6A6-FEE4-0191-4C3E-F86FD7B580A2}"/>
              </a:ext>
            </a:extLst>
          </p:cNvPr>
          <p:cNvGrpSpPr/>
          <p:nvPr/>
        </p:nvGrpSpPr>
        <p:grpSpPr>
          <a:xfrm>
            <a:off x="8088171" y="1086557"/>
            <a:ext cx="834015" cy="212296"/>
            <a:chOff x="8088171" y="1086557"/>
            <a:chExt cx="834015" cy="212296"/>
          </a:xfrm>
          <a:solidFill>
            <a:srgbClr val="3C3C46"/>
          </a:solidFill>
        </p:grpSpPr>
        <p:grpSp>
          <p:nvGrpSpPr>
            <p:cNvPr id="6" name="Grafik 3">
              <a:extLst>
                <a:ext uri="{FF2B5EF4-FFF2-40B4-BE49-F238E27FC236}">
                  <a16:creationId xmlns:a16="http://schemas.microsoft.com/office/drawing/2014/main" id="{4C827525-3375-D33A-4F5F-7D4ECF4D61DB}"/>
                </a:ext>
              </a:extLst>
            </p:cNvPr>
            <p:cNvGrpSpPr/>
            <p:nvPr/>
          </p:nvGrpSpPr>
          <p:grpSpPr>
            <a:xfrm>
              <a:off x="8364389" y="1086557"/>
              <a:ext cx="511003" cy="209823"/>
              <a:chOff x="8364389" y="1086557"/>
              <a:chExt cx="511003" cy="209823"/>
            </a:xfrm>
            <a:solidFill>
              <a:srgbClr val="3C3C46"/>
            </a:solidFill>
          </p:grpSpPr>
          <p:sp>
            <p:nvSpPr>
              <p:cNvPr id="7" name="Freeform: Shape 6">
                <a:extLst>
                  <a:ext uri="{FF2B5EF4-FFF2-40B4-BE49-F238E27FC236}">
                    <a16:creationId xmlns:a16="http://schemas.microsoft.com/office/drawing/2014/main" id="{28948B20-C11D-6AA4-5376-236341FF1E25}"/>
                  </a:ext>
                </a:extLst>
              </p:cNvPr>
              <p:cNvSpPr/>
              <p:nvPr/>
            </p:nvSpPr>
            <p:spPr>
              <a:xfrm>
                <a:off x="8505998" y="1094330"/>
                <a:ext cx="57427" cy="102778"/>
              </a:xfrm>
              <a:custGeom>
                <a:avLst/>
                <a:gdLst>
                  <a:gd name="connsiteX0" fmla="*/ 26232 w 57427"/>
                  <a:gd name="connsiteY0" fmla="*/ 102779 h 102778"/>
                  <a:gd name="connsiteX1" fmla="*/ 6249 w 57427"/>
                  <a:gd name="connsiteY1" fmla="*/ 96758 h 102778"/>
                  <a:gd name="connsiteX2" fmla="*/ 0 w 57427"/>
                  <a:gd name="connsiteY2" fmla="*/ 79932 h 102778"/>
                  <a:gd name="connsiteX3" fmla="*/ 312 w 57427"/>
                  <a:gd name="connsiteY3" fmla="*/ 75300 h 102778"/>
                  <a:gd name="connsiteX4" fmla="*/ 1086 w 57427"/>
                  <a:gd name="connsiteY4" fmla="*/ 70205 h 102778"/>
                  <a:gd name="connsiteX5" fmla="*/ 13912 w 57427"/>
                  <a:gd name="connsiteY5" fmla="*/ 4107 h 102778"/>
                  <a:gd name="connsiteX6" fmla="*/ 15714 w 57427"/>
                  <a:gd name="connsiteY6" fmla="*/ 2439 h 102778"/>
                  <a:gd name="connsiteX7" fmla="*/ 36531 w 57427"/>
                  <a:gd name="connsiteY7" fmla="*/ 14 h 102778"/>
                  <a:gd name="connsiteX8" fmla="*/ 38813 w 57427"/>
                  <a:gd name="connsiteY8" fmla="*/ 2481 h 102778"/>
                  <a:gd name="connsiteX9" fmla="*/ 35032 w 57427"/>
                  <a:gd name="connsiteY9" fmla="*/ 21909 h 102778"/>
                  <a:gd name="connsiteX10" fmla="*/ 55344 w 57427"/>
                  <a:gd name="connsiteY10" fmla="*/ 21909 h 102778"/>
                  <a:gd name="connsiteX11" fmla="*/ 57391 w 57427"/>
                  <a:gd name="connsiteY11" fmla="*/ 24385 h 102778"/>
                  <a:gd name="connsiteX12" fmla="*/ 54452 w 57427"/>
                  <a:gd name="connsiteY12" fmla="*/ 39510 h 102778"/>
                  <a:gd name="connsiteX13" fmla="*/ 52405 w 57427"/>
                  <a:gd name="connsiteY13" fmla="*/ 41194 h 102778"/>
                  <a:gd name="connsiteX14" fmla="*/ 31327 w 57427"/>
                  <a:gd name="connsiteY14" fmla="*/ 41194 h 102778"/>
                  <a:gd name="connsiteX15" fmla="*/ 25617 w 57427"/>
                  <a:gd name="connsiteY15" fmla="*/ 70828 h 102778"/>
                  <a:gd name="connsiteX16" fmla="*/ 25003 w 57427"/>
                  <a:gd name="connsiteY16" fmla="*/ 76075 h 102778"/>
                  <a:gd name="connsiteX17" fmla="*/ 27083 w 57427"/>
                  <a:gd name="connsiteY17" fmla="*/ 81633 h 102778"/>
                  <a:gd name="connsiteX18" fmla="*/ 34409 w 57427"/>
                  <a:gd name="connsiteY18" fmla="*/ 83486 h 102778"/>
                  <a:gd name="connsiteX19" fmla="*/ 42822 w 57427"/>
                  <a:gd name="connsiteY19" fmla="*/ 83486 h 102778"/>
                  <a:gd name="connsiteX20" fmla="*/ 46123 w 57427"/>
                  <a:gd name="connsiteY20" fmla="*/ 83460 h 102778"/>
                  <a:gd name="connsiteX21" fmla="*/ 48195 w 57427"/>
                  <a:gd name="connsiteY21" fmla="*/ 85953 h 102778"/>
                  <a:gd name="connsiteX22" fmla="*/ 45155 w 57427"/>
                  <a:gd name="connsiteY22" fmla="*/ 101036 h 102778"/>
                  <a:gd name="connsiteX23" fmla="*/ 43125 w 57427"/>
                  <a:gd name="connsiteY23" fmla="*/ 102703 h 102778"/>
                  <a:gd name="connsiteX24" fmla="*/ 26241 w 57427"/>
                  <a:gd name="connsiteY24" fmla="*/ 102770 h 10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427" h="102778">
                    <a:moveTo>
                      <a:pt x="26232" y="102779"/>
                    </a:moveTo>
                    <a:cubicBezTo>
                      <a:pt x="17070" y="102779"/>
                      <a:pt x="10417" y="100775"/>
                      <a:pt x="6249" y="96758"/>
                    </a:cubicBezTo>
                    <a:cubicBezTo>
                      <a:pt x="2080" y="92749"/>
                      <a:pt x="0" y="87140"/>
                      <a:pt x="0" y="79932"/>
                    </a:cubicBezTo>
                    <a:cubicBezTo>
                      <a:pt x="0" y="78492"/>
                      <a:pt x="101" y="76951"/>
                      <a:pt x="312" y="75300"/>
                    </a:cubicBezTo>
                    <a:cubicBezTo>
                      <a:pt x="514" y="73658"/>
                      <a:pt x="775" y="71957"/>
                      <a:pt x="1086" y="70205"/>
                    </a:cubicBezTo>
                    <a:lnTo>
                      <a:pt x="13912" y="4107"/>
                    </a:lnTo>
                    <a:cubicBezTo>
                      <a:pt x="14089" y="3214"/>
                      <a:pt x="14813" y="2540"/>
                      <a:pt x="15714" y="2439"/>
                    </a:cubicBezTo>
                    <a:lnTo>
                      <a:pt x="36531" y="14"/>
                    </a:lnTo>
                    <a:cubicBezTo>
                      <a:pt x="37929" y="-146"/>
                      <a:pt x="39083" y="1092"/>
                      <a:pt x="38813" y="2481"/>
                    </a:cubicBezTo>
                    <a:lnTo>
                      <a:pt x="35032" y="21909"/>
                    </a:lnTo>
                    <a:lnTo>
                      <a:pt x="55344" y="21909"/>
                    </a:lnTo>
                    <a:cubicBezTo>
                      <a:pt x="56649" y="21909"/>
                      <a:pt x="57635" y="23105"/>
                      <a:pt x="57391" y="24385"/>
                    </a:cubicBezTo>
                    <a:lnTo>
                      <a:pt x="54452" y="39510"/>
                    </a:lnTo>
                    <a:cubicBezTo>
                      <a:pt x="54258" y="40487"/>
                      <a:pt x="53407" y="41194"/>
                      <a:pt x="52405" y="41194"/>
                    </a:cubicBezTo>
                    <a:lnTo>
                      <a:pt x="31327" y="41194"/>
                    </a:lnTo>
                    <a:lnTo>
                      <a:pt x="25617" y="70828"/>
                    </a:lnTo>
                    <a:cubicBezTo>
                      <a:pt x="25205" y="72580"/>
                      <a:pt x="25003" y="74323"/>
                      <a:pt x="25003" y="76075"/>
                    </a:cubicBezTo>
                    <a:cubicBezTo>
                      <a:pt x="25003" y="78542"/>
                      <a:pt x="25693" y="80395"/>
                      <a:pt x="27083" y="81633"/>
                    </a:cubicBezTo>
                    <a:cubicBezTo>
                      <a:pt x="28472" y="82871"/>
                      <a:pt x="30914" y="83486"/>
                      <a:pt x="34409" y="83486"/>
                    </a:cubicBezTo>
                    <a:lnTo>
                      <a:pt x="42822" y="83486"/>
                    </a:lnTo>
                    <a:cubicBezTo>
                      <a:pt x="43731" y="83486"/>
                      <a:pt x="44961" y="83477"/>
                      <a:pt x="46123" y="83460"/>
                    </a:cubicBezTo>
                    <a:cubicBezTo>
                      <a:pt x="47445" y="83444"/>
                      <a:pt x="48456" y="84656"/>
                      <a:pt x="48195" y="85953"/>
                    </a:cubicBezTo>
                    <a:lnTo>
                      <a:pt x="45155" y="101036"/>
                    </a:lnTo>
                    <a:cubicBezTo>
                      <a:pt x="44961" y="102004"/>
                      <a:pt x="44110" y="102703"/>
                      <a:pt x="43125" y="102703"/>
                    </a:cubicBezTo>
                    <a:lnTo>
                      <a:pt x="26241" y="102770"/>
                    </a:lnTo>
                    <a:close/>
                  </a:path>
                </a:pathLst>
              </a:custGeom>
              <a:solidFill>
                <a:srgbClr val="3C3C46"/>
              </a:solidFill>
              <a:ln w="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F583326B-FFCC-A5B3-9846-64F88C97BB2D}"/>
                  </a:ext>
                </a:extLst>
              </p:cNvPr>
              <p:cNvSpPr/>
              <p:nvPr/>
            </p:nvSpPr>
            <p:spPr>
              <a:xfrm>
                <a:off x="8565106" y="1113780"/>
                <a:ext cx="77466" cy="83488"/>
              </a:xfrm>
              <a:custGeom>
                <a:avLst/>
                <a:gdLst>
                  <a:gd name="connsiteX0" fmla="*/ 22990 w 77466"/>
                  <a:gd name="connsiteY0" fmla="*/ 52313 h 83488"/>
                  <a:gd name="connsiteX1" fmla="*/ 22990 w 77466"/>
                  <a:gd name="connsiteY1" fmla="*/ 54780 h 83488"/>
                  <a:gd name="connsiteX2" fmla="*/ 26459 w 77466"/>
                  <a:gd name="connsiteY2" fmla="*/ 61913 h 83488"/>
                  <a:gd name="connsiteX3" fmla="*/ 37803 w 77466"/>
                  <a:gd name="connsiteY3" fmla="*/ 64541 h 83488"/>
                  <a:gd name="connsiteX4" fmla="*/ 52616 w 77466"/>
                  <a:gd name="connsiteY4" fmla="*/ 64389 h 83488"/>
                  <a:gd name="connsiteX5" fmla="*/ 60835 w 77466"/>
                  <a:gd name="connsiteY5" fmla="*/ 64170 h 83488"/>
                  <a:gd name="connsiteX6" fmla="*/ 62982 w 77466"/>
                  <a:gd name="connsiteY6" fmla="*/ 66638 h 83488"/>
                  <a:gd name="connsiteX7" fmla="*/ 60447 w 77466"/>
                  <a:gd name="connsiteY7" fmla="*/ 81147 h 83488"/>
                  <a:gd name="connsiteX8" fmla="*/ 58561 w 77466"/>
                  <a:gd name="connsiteY8" fmla="*/ 82832 h 83488"/>
                  <a:gd name="connsiteX9" fmla="*/ 47445 w 77466"/>
                  <a:gd name="connsiteY9" fmla="*/ 83337 h 83488"/>
                  <a:gd name="connsiteX10" fmla="*/ 33171 w 77466"/>
                  <a:gd name="connsiteY10" fmla="*/ 83489 h 83488"/>
                  <a:gd name="connsiteX11" fmla="*/ 17196 w 77466"/>
                  <a:gd name="connsiteY11" fmla="*/ 81324 h 83488"/>
                  <a:gd name="connsiteX12" fmla="*/ 7015 w 77466"/>
                  <a:gd name="connsiteY12" fmla="*/ 75303 h 83488"/>
                  <a:gd name="connsiteX13" fmla="*/ 1617 w 77466"/>
                  <a:gd name="connsiteY13" fmla="*/ 66124 h 83488"/>
                  <a:gd name="connsiteX14" fmla="*/ 0 w 77466"/>
                  <a:gd name="connsiteY14" fmla="*/ 54629 h 83488"/>
                  <a:gd name="connsiteX15" fmla="*/ 1390 w 77466"/>
                  <a:gd name="connsiteY15" fmla="*/ 41205 h 83488"/>
                  <a:gd name="connsiteX16" fmla="*/ 8177 w 77466"/>
                  <a:gd name="connsiteY16" fmla="*/ 20371 h 83488"/>
                  <a:gd name="connsiteX17" fmla="*/ 18594 w 77466"/>
                  <a:gd name="connsiteY17" fmla="*/ 7790 h 83488"/>
                  <a:gd name="connsiteX18" fmla="*/ 31639 w 77466"/>
                  <a:gd name="connsiteY18" fmla="*/ 1617 h 83488"/>
                  <a:gd name="connsiteX19" fmla="*/ 46451 w 77466"/>
                  <a:gd name="connsiteY19" fmla="*/ 0 h 83488"/>
                  <a:gd name="connsiteX20" fmla="*/ 69829 w 77466"/>
                  <a:gd name="connsiteY20" fmla="*/ 5861 h 83488"/>
                  <a:gd name="connsiteX21" fmla="*/ 77467 w 77466"/>
                  <a:gd name="connsiteY21" fmla="*/ 22687 h 83488"/>
                  <a:gd name="connsiteX22" fmla="*/ 77079 w 77466"/>
                  <a:gd name="connsiteY22" fmla="*/ 26780 h 83488"/>
                  <a:gd name="connsiteX23" fmla="*/ 76389 w 77466"/>
                  <a:gd name="connsiteY23" fmla="*/ 31024 h 83488"/>
                  <a:gd name="connsiteX24" fmla="*/ 64894 w 77466"/>
                  <a:gd name="connsiteY24" fmla="*/ 47538 h 83488"/>
                  <a:gd name="connsiteX25" fmla="*/ 39201 w 77466"/>
                  <a:gd name="connsiteY25" fmla="*/ 52321 h 83488"/>
                  <a:gd name="connsiteX26" fmla="*/ 22998 w 77466"/>
                  <a:gd name="connsiteY26" fmla="*/ 52321 h 83488"/>
                  <a:gd name="connsiteX27" fmla="*/ 44599 w 77466"/>
                  <a:gd name="connsiteY27" fmla="*/ 17432 h 83488"/>
                  <a:gd name="connsiteX28" fmla="*/ 32716 w 77466"/>
                  <a:gd name="connsiteY28" fmla="*/ 21365 h 83488"/>
                  <a:gd name="connsiteX29" fmla="*/ 26232 w 77466"/>
                  <a:gd name="connsiteY29" fmla="*/ 35327 h 83488"/>
                  <a:gd name="connsiteX30" fmla="*/ 39656 w 77466"/>
                  <a:gd name="connsiteY30" fmla="*/ 35327 h 83488"/>
                  <a:gd name="connsiteX31" fmla="*/ 46064 w 77466"/>
                  <a:gd name="connsiteY31" fmla="*/ 35016 h 83488"/>
                  <a:gd name="connsiteX32" fmla="*/ 50308 w 77466"/>
                  <a:gd name="connsiteY32" fmla="*/ 33862 h 83488"/>
                  <a:gd name="connsiteX33" fmla="*/ 52936 w 77466"/>
                  <a:gd name="connsiteY33" fmla="*/ 31698 h 83488"/>
                  <a:gd name="connsiteX34" fmla="*/ 54477 w 77466"/>
                  <a:gd name="connsiteY34" fmla="*/ 28380 h 83488"/>
                  <a:gd name="connsiteX35" fmla="*/ 55092 w 77466"/>
                  <a:gd name="connsiteY35" fmla="*/ 24371 h 83488"/>
                  <a:gd name="connsiteX36" fmla="*/ 52776 w 77466"/>
                  <a:gd name="connsiteY36" fmla="*/ 19276 h 83488"/>
                  <a:gd name="connsiteX37" fmla="*/ 44599 w 77466"/>
                  <a:gd name="connsiteY37" fmla="*/ 17424 h 8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7466" h="83488">
                    <a:moveTo>
                      <a:pt x="22990" y="52313"/>
                    </a:moveTo>
                    <a:lnTo>
                      <a:pt x="22990" y="54780"/>
                    </a:lnTo>
                    <a:cubicBezTo>
                      <a:pt x="23091" y="58587"/>
                      <a:pt x="24245" y="60170"/>
                      <a:pt x="26459" y="61913"/>
                    </a:cubicBezTo>
                    <a:cubicBezTo>
                      <a:pt x="28674" y="63665"/>
                      <a:pt x="32455" y="64541"/>
                      <a:pt x="37803" y="64541"/>
                    </a:cubicBezTo>
                    <a:cubicBezTo>
                      <a:pt x="43462" y="64541"/>
                      <a:pt x="48397" y="64490"/>
                      <a:pt x="52616" y="64389"/>
                    </a:cubicBezTo>
                    <a:cubicBezTo>
                      <a:pt x="55934" y="64313"/>
                      <a:pt x="57896" y="64313"/>
                      <a:pt x="60835" y="64170"/>
                    </a:cubicBezTo>
                    <a:cubicBezTo>
                      <a:pt x="62182" y="64103"/>
                      <a:pt x="63235" y="65315"/>
                      <a:pt x="62982" y="66638"/>
                    </a:cubicBezTo>
                    <a:lnTo>
                      <a:pt x="60447" y="81147"/>
                    </a:lnTo>
                    <a:cubicBezTo>
                      <a:pt x="60271" y="82074"/>
                      <a:pt x="59496" y="82764"/>
                      <a:pt x="58561" y="82832"/>
                    </a:cubicBezTo>
                    <a:cubicBezTo>
                      <a:pt x="55428" y="83067"/>
                      <a:pt x="51226" y="83244"/>
                      <a:pt x="47445" y="83337"/>
                    </a:cubicBezTo>
                    <a:cubicBezTo>
                      <a:pt x="42973" y="83438"/>
                      <a:pt x="38207" y="83489"/>
                      <a:pt x="33171" y="83489"/>
                    </a:cubicBezTo>
                    <a:cubicBezTo>
                      <a:pt x="26788" y="83489"/>
                      <a:pt x="21466" y="82773"/>
                      <a:pt x="17196" y="81324"/>
                    </a:cubicBezTo>
                    <a:cubicBezTo>
                      <a:pt x="12927" y="79884"/>
                      <a:pt x="9533" y="77880"/>
                      <a:pt x="7015" y="75303"/>
                    </a:cubicBezTo>
                    <a:cubicBezTo>
                      <a:pt x="4489" y="72735"/>
                      <a:pt x="2695" y="69669"/>
                      <a:pt x="1617" y="66124"/>
                    </a:cubicBezTo>
                    <a:cubicBezTo>
                      <a:pt x="539" y="62578"/>
                      <a:pt x="0" y="58747"/>
                      <a:pt x="0" y="54629"/>
                    </a:cubicBezTo>
                    <a:cubicBezTo>
                      <a:pt x="0" y="50309"/>
                      <a:pt x="463" y="45829"/>
                      <a:pt x="1390" y="41205"/>
                    </a:cubicBezTo>
                    <a:cubicBezTo>
                      <a:pt x="2931" y="32666"/>
                      <a:pt x="5196" y="25719"/>
                      <a:pt x="8177" y="20371"/>
                    </a:cubicBezTo>
                    <a:cubicBezTo>
                      <a:pt x="11158" y="15024"/>
                      <a:pt x="14636" y="10830"/>
                      <a:pt x="18594" y="7790"/>
                    </a:cubicBezTo>
                    <a:cubicBezTo>
                      <a:pt x="22552" y="4758"/>
                      <a:pt x="26897" y="2695"/>
                      <a:pt x="31639" y="1617"/>
                    </a:cubicBezTo>
                    <a:cubicBezTo>
                      <a:pt x="36371" y="539"/>
                      <a:pt x="41306" y="0"/>
                      <a:pt x="46451" y="0"/>
                    </a:cubicBezTo>
                    <a:cubicBezTo>
                      <a:pt x="56944" y="0"/>
                      <a:pt x="64742" y="1954"/>
                      <a:pt x="69829" y="5861"/>
                    </a:cubicBezTo>
                    <a:cubicBezTo>
                      <a:pt x="74924" y="9769"/>
                      <a:pt x="77467" y="15377"/>
                      <a:pt x="77467" y="22687"/>
                    </a:cubicBezTo>
                    <a:cubicBezTo>
                      <a:pt x="77366" y="24026"/>
                      <a:pt x="77231" y="25390"/>
                      <a:pt x="77079" y="26780"/>
                    </a:cubicBezTo>
                    <a:cubicBezTo>
                      <a:pt x="76928" y="28169"/>
                      <a:pt x="76692" y="29584"/>
                      <a:pt x="76389" y="31024"/>
                    </a:cubicBezTo>
                    <a:cubicBezTo>
                      <a:pt x="74637" y="38847"/>
                      <a:pt x="70806" y="44346"/>
                      <a:pt x="64894" y="47538"/>
                    </a:cubicBezTo>
                    <a:cubicBezTo>
                      <a:pt x="58974" y="50730"/>
                      <a:pt x="50409" y="52321"/>
                      <a:pt x="39201" y="52321"/>
                    </a:cubicBezTo>
                    <a:lnTo>
                      <a:pt x="22998" y="52321"/>
                    </a:lnTo>
                    <a:close/>
                    <a:moveTo>
                      <a:pt x="44599" y="17432"/>
                    </a:moveTo>
                    <a:cubicBezTo>
                      <a:pt x="39352" y="17432"/>
                      <a:pt x="35386" y="18746"/>
                      <a:pt x="32716" y="21365"/>
                    </a:cubicBezTo>
                    <a:cubicBezTo>
                      <a:pt x="30038" y="23992"/>
                      <a:pt x="27883" y="28641"/>
                      <a:pt x="26232" y="35327"/>
                    </a:cubicBezTo>
                    <a:lnTo>
                      <a:pt x="39656" y="35327"/>
                    </a:lnTo>
                    <a:cubicBezTo>
                      <a:pt x="42224" y="35327"/>
                      <a:pt x="44363" y="35226"/>
                      <a:pt x="46064" y="35016"/>
                    </a:cubicBezTo>
                    <a:cubicBezTo>
                      <a:pt x="47765" y="34814"/>
                      <a:pt x="49171" y="34426"/>
                      <a:pt x="50308" y="33862"/>
                    </a:cubicBezTo>
                    <a:cubicBezTo>
                      <a:pt x="51437" y="33298"/>
                      <a:pt x="52313" y="32573"/>
                      <a:pt x="52936" y="31698"/>
                    </a:cubicBezTo>
                    <a:cubicBezTo>
                      <a:pt x="53551" y="30822"/>
                      <a:pt x="54064" y="29719"/>
                      <a:pt x="54477" y="28380"/>
                    </a:cubicBezTo>
                    <a:cubicBezTo>
                      <a:pt x="54889" y="27142"/>
                      <a:pt x="55092" y="25811"/>
                      <a:pt x="55092" y="24371"/>
                    </a:cubicBezTo>
                    <a:cubicBezTo>
                      <a:pt x="55092" y="22207"/>
                      <a:pt x="54317" y="20514"/>
                      <a:pt x="52776" y="19276"/>
                    </a:cubicBezTo>
                    <a:cubicBezTo>
                      <a:pt x="51235" y="18038"/>
                      <a:pt x="48506" y="17424"/>
                      <a:pt x="44599" y="17424"/>
                    </a:cubicBezTo>
                    <a:close/>
                  </a:path>
                </a:pathLst>
              </a:custGeom>
              <a:solidFill>
                <a:srgbClr val="3C3C46"/>
              </a:solidFill>
              <a:ln w="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4C8B476F-DA11-7768-DA84-916BE246292A}"/>
                  </a:ext>
                </a:extLst>
              </p:cNvPr>
              <p:cNvSpPr/>
              <p:nvPr/>
            </p:nvSpPr>
            <p:spPr>
              <a:xfrm>
                <a:off x="8648897" y="1115962"/>
                <a:ext cx="69010" cy="81324"/>
              </a:xfrm>
              <a:custGeom>
                <a:avLst/>
                <a:gdLst>
                  <a:gd name="connsiteX0" fmla="*/ 66014 w 69010"/>
                  <a:gd name="connsiteY0" fmla="*/ 17971 h 81324"/>
                  <a:gd name="connsiteX1" fmla="*/ 63883 w 69010"/>
                  <a:gd name="connsiteY1" fmla="*/ 19647 h 81324"/>
                  <a:gd name="connsiteX2" fmla="*/ 55639 w 69010"/>
                  <a:gd name="connsiteY2" fmla="*/ 19344 h 81324"/>
                  <a:gd name="connsiteX3" fmla="*/ 48001 w 69010"/>
                  <a:gd name="connsiteY3" fmla="*/ 19268 h 81324"/>
                  <a:gd name="connsiteX4" fmla="*/ 39285 w 69010"/>
                  <a:gd name="connsiteY4" fmla="*/ 20043 h 81324"/>
                  <a:gd name="connsiteX5" fmla="*/ 33112 w 69010"/>
                  <a:gd name="connsiteY5" fmla="*/ 22973 h 81324"/>
                  <a:gd name="connsiteX6" fmla="*/ 28868 w 69010"/>
                  <a:gd name="connsiteY6" fmla="*/ 28919 h 81324"/>
                  <a:gd name="connsiteX7" fmla="*/ 26089 w 69010"/>
                  <a:gd name="connsiteY7" fmla="*/ 38721 h 81324"/>
                  <a:gd name="connsiteX8" fmla="*/ 24935 w 69010"/>
                  <a:gd name="connsiteY8" fmla="*/ 45130 h 81324"/>
                  <a:gd name="connsiteX9" fmla="*/ 24548 w 69010"/>
                  <a:gd name="connsiteY9" fmla="*/ 50149 h 81324"/>
                  <a:gd name="connsiteX10" fmla="*/ 28253 w 69010"/>
                  <a:gd name="connsiteY10" fmla="*/ 59715 h 81324"/>
                  <a:gd name="connsiteX11" fmla="*/ 40136 w 69010"/>
                  <a:gd name="connsiteY11" fmla="*/ 62031 h 81324"/>
                  <a:gd name="connsiteX12" fmla="*/ 54822 w 69010"/>
                  <a:gd name="connsiteY12" fmla="*/ 62031 h 81324"/>
                  <a:gd name="connsiteX13" fmla="*/ 56860 w 69010"/>
                  <a:gd name="connsiteY13" fmla="*/ 64515 h 81324"/>
                  <a:gd name="connsiteX14" fmla="*/ 53921 w 69010"/>
                  <a:gd name="connsiteY14" fmla="*/ 79396 h 81324"/>
                  <a:gd name="connsiteX15" fmla="*/ 51942 w 69010"/>
                  <a:gd name="connsiteY15" fmla="*/ 81072 h 81324"/>
                  <a:gd name="connsiteX16" fmla="*/ 44447 w 69010"/>
                  <a:gd name="connsiteY16" fmla="*/ 81248 h 81324"/>
                  <a:gd name="connsiteX17" fmla="*/ 36422 w 69010"/>
                  <a:gd name="connsiteY17" fmla="*/ 81324 h 81324"/>
                  <a:gd name="connsiteX18" fmla="*/ 19141 w 69010"/>
                  <a:gd name="connsiteY18" fmla="*/ 79320 h 81324"/>
                  <a:gd name="connsiteX19" fmla="*/ 7950 w 69010"/>
                  <a:gd name="connsiteY19" fmla="*/ 73535 h 81324"/>
                  <a:gd name="connsiteX20" fmla="*/ 1853 w 69010"/>
                  <a:gd name="connsiteY20" fmla="*/ 64431 h 81324"/>
                  <a:gd name="connsiteX21" fmla="*/ 0 w 69010"/>
                  <a:gd name="connsiteY21" fmla="*/ 52473 h 81324"/>
                  <a:gd name="connsiteX22" fmla="*/ 1390 w 69010"/>
                  <a:gd name="connsiteY22" fmla="*/ 38426 h 81324"/>
                  <a:gd name="connsiteX23" fmla="*/ 7950 w 69010"/>
                  <a:gd name="connsiteY23" fmla="*/ 18906 h 81324"/>
                  <a:gd name="connsiteX24" fmla="*/ 18367 w 69010"/>
                  <a:gd name="connsiteY24" fmla="*/ 7251 h 81324"/>
                  <a:gd name="connsiteX25" fmla="*/ 32413 w 69010"/>
                  <a:gd name="connsiteY25" fmla="*/ 1541 h 81324"/>
                  <a:gd name="connsiteX26" fmla="*/ 49854 w 69010"/>
                  <a:gd name="connsiteY26" fmla="*/ 0 h 81324"/>
                  <a:gd name="connsiteX27" fmla="*/ 53946 w 69010"/>
                  <a:gd name="connsiteY27" fmla="*/ 0 h 81324"/>
                  <a:gd name="connsiteX28" fmla="*/ 58965 w 69010"/>
                  <a:gd name="connsiteY28" fmla="*/ 76 h 81324"/>
                  <a:gd name="connsiteX29" fmla="*/ 67100 w 69010"/>
                  <a:gd name="connsiteY29" fmla="*/ 615 h 81324"/>
                  <a:gd name="connsiteX30" fmla="*/ 68970 w 69010"/>
                  <a:gd name="connsiteY30" fmla="*/ 3091 h 81324"/>
                  <a:gd name="connsiteX31" fmla="*/ 66022 w 69010"/>
                  <a:gd name="connsiteY31" fmla="*/ 17996 h 81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9010" h="81324">
                    <a:moveTo>
                      <a:pt x="66014" y="17971"/>
                    </a:moveTo>
                    <a:cubicBezTo>
                      <a:pt x="65812" y="18982"/>
                      <a:pt x="64911" y="19689"/>
                      <a:pt x="63883" y="19647"/>
                    </a:cubicBezTo>
                    <a:cubicBezTo>
                      <a:pt x="61281" y="19537"/>
                      <a:pt x="57458" y="19386"/>
                      <a:pt x="55639" y="19344"/>
                    </a:cubicBezTo>
                    <a:cubicBezTo>
                      <a:pt x="53323" y="19293"/>
                      <a:pt x="50780" y="19268"/>
                      <a:pt x="48001" y="19268"/>
                    </a:cubicBezTo>
                    <a:cubicBezTo>
                      <a:pt x="44607" y="19268"/>
                      <a:pt x="41702" y="19529"/>
                      <a:pt x="39285" y="20043"/>
                    </a:cubicBezTo>
                    <a:cubicBezTo>
                      <a:pt x="36868" y="20556"/>
                      <a:pt x="34813" y="21533"/>
                      <a:pt x="33112" y="22973"/>
                    </a:cubicBezTo>
                    <a:cubicBezTo>
                      <a:pt x="31411" y="24413"/>
                      <a:pt x="29996" y="26392"/>
                      <a:pt x="28868" y="28919"/>
                    </a:cubicBezTo>
                    <a:cubicBezTo>
                      <a:pt x="27731" y="31445"/>
                      <a:pt x="26805" y="34704"/>
                      <a:pt x="26089" y="38721"/>
                    </a:cubicBezTo>
                    <a:cubicBezTo>
                      <a:pt x="25575" y="41087"/>
                      <a:pt x="25188" y="43226"/>
                      <a:pt x="24935" y="45130"/>
                    </a:cubicBezTo>
                    <a:cubicBezTo>
                      <a:pt x="24674" y="47033"/>
                      <a:pt x="24548" y="48709"/>
                      <a:pt x="24548" y="50149"/>
                    </a:cubicBezTo>
                    <a:cubicBezTo>
                      <a:pt x="24548" y="54983"/>
                      <a:pt x="25786" y="58174"/>
                      <a:pt x="28253" y="59715"/>
                    </a:cubicBezTo>
                    <a:cubicBezTo>
                      <a:pt x="30721" y="61256"/>
                      <a:pt x="34679" y="62031"/>
                      <a:pt x="40136" y="62031"/>
                    </a:cubicBezTo>
                    <a:lnTo>
                      <a:pt x="54822" y="62031"/>
                    </a:lnTo>
                    <a:cubicBezTo>
                      <a:pt x="56136" y="62031"/>
                      <a:pt x="57121" y="63227"/>
                      <a:pt x="56860" y="64515"/>
                    </a:cubicBezTo>
                    <a:lnTo>
                      <a:pt x="53921" y="79396"/>
                    </a:lnTo>
                    <a:cubicBezTo>
                      <a:pt x="53736" y="80347"/>
                      <a:pt x="52911" y="81046"/>
                      <a:pt x="51942" y="81072"/>
                    </a:cubicBezTo>
                    <a:cubicBezTo>
                      <a:pt x="49576" y="81147"/>
                      <a:pt x="46847" y="81206"/>
                      <a:pt x="44447" y="81248"/>
                    </a:cubicBezTo>
                    <a:cubicBezTo>
                      <a:pt x="41466" y="81299"/>
                      <a:pt x="38788" y="81324"/>
                      <a:pt x="36422" y="81324"/>
                    </a:cubicBezTo>
                    <a:cubicBezTo>
                      <a:pt x="29525" y="81324"/>
                      <a:pt x="23765" y="80659"/>
                      <a:pt x="19141" y="79320"/>
                    </a:cubicBezTo>
                    <a:cubicBezTo>
                      <a:pt x="14510" y="77981"/>
                      <a:pt x="10779" y="76053"/>
                      <a:pt x="7950" y="73535"/>
                    </a:cubicBezTo>
                    <a:cubicBezTo>
                      <a:pt x="5120" y="71017"/>
                      <a:pt x="3091" y="67977"/>
                      <a:pt x="1853" y="64431"/>
                    </a:cubicBezTo>
                    <a:cubicBezTo>
                      <a:pt x="615" y="60886"/>
                      <a:pt x="0" y="56894"/>
                      <a:pt x="0" y="52473"/>
                    </a:cubicBezTo>
                    <a:cubicBezTo>
                      <a:pt x="0" y="48052"/>
                      <a:pt x="463" y="43370"/>
                      <a:pt x="1390" y="38426"/>
                    </a:cubicBezTo>
                    <a:cubicBezTo>
                      <a:pt x="2931" y="30401"/>
                      <a:pt x="5120" y="23900"/>
                      <a:pt x="7950" y="18906"/>
                    </a:cubicBezTo>
                    <a:cubicBezTo>
                      <a:pt x="10779" y="13920"/>
                      <a:pt x="14249" y="10030"/>
                      <a:pt x="18367" y="7251"/>
                    </a:cubicBezTo>
                    <a:cubicBezTo>
                      <a:pt x="22485" y="4472"/>
                      <a:pt x="27167" y="2569"/>
                      <a:pt x="32413" y="1541"/>
                    </a:cubicBezTo>
                    <a:cubicBezTo>
                      <a:pt x="37660" y="514"/>
                      <a:pt x="43470" y="0"/>
                      <a:pt x="49854" y="0"/>
                    </a:cubicBezTo>
                    <a:lnTo>
                      <a:pt x="53946" y="0"/>
                    </a:lnTo>
                    <a:cubicBezTo>
                      <a:pt x="55538" y="0"/>
                      <a:pt x="57214" y="25"/>
                      <a:pt x="58965" y="76"/>
                    </a:cubicBezTo>
                    <a:cubicBezTo>
                      <a:pt x="60506" y="126"/>
                      <a:pt x="61803" y="177"/>
                      <a:pt x="67100" y="615"/>
                    </a:cubicBezTo>
                    <a:cubicBezTo>
                      <a:pt x="68338" y="716"/>
                      <a:pt x="69214" y="1878"/>
                      <a:pt x="68970" y="3091"/>
                    </a:cubicBezTo>
                    <a:lnTo>
                      <a:pt x="66022" y="17996"/>
                    </a:lnTo>
                    <a:close/>
                  </a:path>
                </a:pathLst>
              </a:custGeom>
              <a:solidFill>
                <a:srgbClr val="3C3C46"/>
              </a:solidFill>
              <a:ln w="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2A9E0DCB-620F-1A2C-C628-973CD1536BBC}"/>
                  </a:ext>
                </a:extLst>
              </p:cNvPr>
              <p:cNvSpPr/>
              <p:nvPr/>
            </p:nvSpPr>
            <p:spPr>
              <a:xfrm>
                <a:off x="8716320" y="1086557"/>
                <a:ext cx="85043" cy="110399"/>
              </a:xfrm>
              <a:custGeom>
                <a:avLst/>
                <a:gdLst>
                  <a:gd name="connsiteX0" fmla="*/ 22381 w 85043"/>
                  <a:gd name="connsiteY0" fmla="*/ 110400 h 110399"/>
                  <a:gd name="connsiteX1" fmla="*/ 2086 w 85043"/>
                  <a:gd name="connsiteY1" fmla="*/ 110400 h 110399"/>
                  <a:gd name="connsiteX2" fmla="*/ 40 w 85043"/>
                  <a:gd name="connsiteY2" fmla="*/ 107916 h 110399"/>
                  <a:gd name="connsiteX3" fmla="*/ 20427 w 85043"/>
                  <a:gd name="connsiteY3" fmla="*/ 4005 h 110399"/>
                  <a:gd name="connsiteX4" fmla="*/ 22238 w 85043"/>
                  <a:gd name="connsiteY4" fmla="*/ 2338 h 110399"/>
                  <a:gd name="connsiteX5" fmla="*/ 43005 w 85043"/>
                  <a:gd name="connsiteY5" fmla="*/ 14 h 110399"/>
                  <a:gd name="connsiteX6" fmla="*/ 45278 w 85043"/>
                  <a:gd name="connsiteY6" fmla="*/ 2490 h 110399"/>
                  <a:gd name="connsiteX7" fmla="*/ 39367 w 85043"/>
                  <a:gd name="connsiteY7" fmla="*/ 32006 h 110399"/>
                  <a:gd name="connsiteX8" fmla="*/ 46617 w 85043"/>
                  <a:gd name="connsiteY8" fmla="*/ 28461 h 110399"/>
                  <a:gd name="connsiteX9" fmla="*/ 57262 w 85043"/>
                  <a:gd name="connsiteY9" fmla="*/ 27223 h 110399"/>
                  <a:gd name="connsiteX10" fmla="*/ 68529 w 85043"/>
                  <a:gd name="connsiteY10" fmla="*/ 28688 h 110399"/>
                  <a:gd name="connsiteX11" fmla="*/ 77329 w 85043"/>
                  <a:gd name="connsiteY11" fmla="*/ 33160 h 110399"/>
                  <a:gd name="connsiteX12" fmla="*/ 83039 w 85043"/>
                  <a:gd name="connsiteY12" fmla="*/ 40798 h 110399"/>
                  <a:gd name="connsiteX13" fmla="*/ 85043 w 85043"/>
                  <a:gd name="connsiteY13" fmla="*/ 51906 h 110399"/>
                  <a:gd name="connsiteX14" fmla="*/ 83965 w 85043"/>
                  <a:gd name="connsiteY14" fmla="*/ 61784 h 110399"/>
                  <a:gd name="connsiteX15" fmla="*/ 74879 w 85043"/>
                  <a:gd name="connsiteY15" fmla="*/ 108707 h 110399"/>
                  <a:gd name="connsiteX16" fmla="*/ 72833 w 85043"/>
                  <a:gd name="connsiteY16" fmla="*/ 110391 h 110399"/>
                  <a:gd name="connsiteX17" fmla="*/ 52537 w 85043"/>
                  <a:gd name="connsiteY17" fmla="*/ 110391 h 110399"/>
                  <a:gd name="connsiteX18" fmla="*/ 50491 w 85043"/>
                  <a:gd name="connsiteY18" fmla="*/ 107916 h 110399"/>
                  <a:gd name="connsiteX19" fmla="*/ 59578 w 85043"/>
                  <a:gd name="connsiteY19" fmla="*/ 61321 h 110399"/>
                  <a:gd name="connsiteX20" fmla="*/ 60041 w 85043"/>
                  <a:gd name="connsiteY20" fmla="*/ 58542 h 110399"/>
                  <a:gd name="connsiteX21" fmla="*/ 60192 w 85043"/>
                  <a:gd name="connsiteY21" fmla="*/ 56074 h 110399"/>
                  <a:gd name="connsiteX22" fmla="*/ 57489 w 85043"/>
                  <a:gd name="connsiteY22" fmla="*/ 49127 h 110399"/>
                  <a:gd name="connsiteX23" fmla="*/ 49539 w 85043"/>
                  <a:gd name="connsiteY23" fmla="*/ 47122 h 110399"/>
                  <a:gd name="connsiteX24" fmla="*/ 42904 w 85043"/>
                  <a:gd name="connsiteY24" fmla="*/ 47813 h 110399"/>
                  <a:gd name="connsiteX25" fmla="*/ 38508 w 85043"/>
                  <a:gd name="connsiteY25" fmla="*/ 50129 h 110399"/>
                  <a:gd name="connsiteX26" fmla="*/ 35577 w 85043"/>
                  <a:gd name="connsiteY26" fmla="*/ 54449 h 110399"/>
                  <a:gd name="connsiteX27" fmla="*/ 33649 w 85043"/>
                  <a:gd name="connsiteY27" fmla="*/ 61312 h 110399"/>
                  <a:gd name="connsiteX28" fmla="*/ 24411 w 85043"/>
                  <a:gd name="connsiteY28" fmla="*/ 108707 h 110399"/>
                  <a:gd name="connsiteX29" fmla="*/ 22364 w 85043"/>
                  <a:gd name="connsiteY29" fmla="*/ 110391 h 11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5043" h="110399">
                    <a:moveTo>
                      <a:pt x="22381" y="110400"/>
                    </a:moveTo>
                    <a:lnTo>
                      <a:pt x="2086" y="110400"/>
                    </a:lnTo>
                    <a:cubicBezTo>
                      <a:pt x="772" y="110400"/>
                      <a:pt x="-213" y="109204"/>
                      <a:pt x="40" y="107916"/>
                    </a:cubicBezTo>
                    <a:lnTo>
                      <a:pt x="20427" y="4005"/>
                    </a:lnTo>
                    <a:cubicBezTo>
                      <a:pt x="20604" y="3113"/>
                      <a:pt x="21337" y="2439"/>
                      <a:pt x="22238" y="2338"/>
                    </a:cubicBezTo>
                    <a:lnTo>
                      <a:pt x="43005" y="14"/>
                    </a:lnTo>
                    <a:cubicBezTo>
                      <a:pt x="44403" y="-146"/>
                      <a:pt x="45556" y="1109"/>
                      <a:pt x="45278" y="2490"/>
                    </a:cubicBezTo>
                    <a:lnTo>
                      <a:pt x="39367" y="32006"/>
                    </a:lnTo>
                    <a:cubicBezTo>
                      <a:pt x="41421" y="30465"/>
                      <a:pt x="43838" y="29278"/>
                      <a:pt x="46617" y="28461"/>
                    </a:cubicBezTo>
                    <a:cubicBezTo>
                      <a:pt x="49396" y="27636"/>
                      <a:pt x="52942" y="27223"/>
                      <a:pt x="57262" y="27223"/>
                    </a:cubicBezTo>
                    <a:cubicBezTo>
                      <a:pt x="61582" y="27223"/>
                      <a:pt x="65136" y="27711"/>
                      <a:pt x="68529" y="28688"/>
                    </a:cubicBezTo>
                    <a:cubicBezTo>
                      <a:pt x="71923" y="29665"/>
                      <a:pt x="74854" y="31156"/>
                      <a:pt x="77329" y="33160"/>
                    </a:cubicBezTo>
                    <a:cubicBezTo>
                      <a:pt x="79797" y="35164"/>
                      <a:pt x="81700" y="37716"/>
                      <a:pt x="83039" y="40798"/>
                    </a:cubicBezTo>
                    <a:cubicBezTo>
                      <a:pt x="84378" y="43889"/>
                      <a:pt x="85043" y="47586"/>
                      <a:pt x="85043" y="51906"/>
                    </a:cubicBezTo>
                    <a:cubicBezTo>
                      <a:pt x="85043" y="54996"/>
                      <a:pt x="84681" y="58289"/>
                      <a:pt x="83965" y="61784"/>
                    </a:cubicBezTo>
                    <a:lnTo>
                      <a:pt x="74879" y="108707"/>
                    </a:lnTo>
                    <a:cubicBezTo>
                      <a:pt x="74685" y="109684"/>
                      <a:pt x="73835" y="110391"/>
                      <a:pt x="72833" y="110391"/>
                    </a:cubicBezTo>
                    <a:lnTo>
                      <a:pt x="52537" y="110391"/>
                    </a:lnTo>
                    <a:cubicBezTo>
                      <a:pt x="51232" y="110391"/>
                      <a:pt x="50247" y="109196"/>
                      <a:pt x="50491" y="107916"/>
                    </a:cubicBezTo>
                    <a:lnTo>
                      <a:pt x="59578" y="61321"/>
                    </a:lnTo>
                    <a:cubicBezTo>
                      <a:pt x="59780" y="60293"/>
                      <a:pt x="59940" y="59367"/>
                      <a:pt x="60041" y="58542"/>
                    </a:cubicBezTo>
                    <a:cubicBezTo>
                      <a:pt x="60142" y="57716"/>
                      <a:pt x="60192" y="56900"/>
                      <a:pt x="60192" y="56074"/>
                    </a:cubicBezTo>
                    <a:cubicBezTo>
                      <a:pt x="60192" y="52781"/>
                      <a:pt x="59291" y="50466"/>
                      <a:pt x="57489" y="49127"/>
                    </a:cubicBezTo>
                    <a:cubicBezTo>
                      <a:pt x="55687" y="47788"/>
                      <a:pt x="53034" y="47122"/>
                      <a:pt x="49539" y="47122"/>
                    </a:cubicBezTo>
                    <a:cubicBezTo>
                      <a:pt x="46862" y="47122"/>
                      <a:pt x="44655" y="47350"/>
                      <a:pt x="42904" y="47813"/>
                    </a:cubicBezTo>
                    <a:cubicBezTo>
                      <a:pt x="41152" y="48276"/>
                      <a:pt x="39687" y="49051"/>
                      <a:pt x="38508" y="50129"/>
                    </a:cubicBezTo>
                    <a:cubicBezTo>
                      <a:pt x="37320" y="51207"/>
                      <a:pt x="36344" y="52655"/>
                      <a:pt x="35577" y="54449"/>
                    </a:cubicBezTo>
                    <a:cubicBezTo>
                      <a:pt x="34802" y="56251"/>
                      <a:pt x="34162" y="58542"/>
                      <a:pt x="33649" y="61312"/>
                    </a:cubicBezTo>
                    <a:lnTo>
                      <a:pt x="24411" y="108707"/>
                    </a:lnTo>
                    <a:cubicBezTo>
                      <a:pt x="24217" y="109684"/>
                      <a:pt x="23366" y="110391"/>
                      <a:pt x="22364" y="110391"/>
                    </a:cubicBezTo>
                    <a:close/>
                  </a:path>
                </a:pathLst>
              </a:custGeom>
              <a:solidFill>
                <a:srgbClr val="3C3C46"/>
              </a:solidFill>
              <a:ln w="0" cap="flat">
                <a:noFill/>
                <a:prstDash val="solid"/>
                <a:miter/>
              </a:ln>
            </p:spPr>
            <p:txBody>
              <a:bodyPr rtlCol="0" anchor="ctr"/>
              <a:lstStyle/>
              <a:p>
                <a:endParaRPr lang="en-US"/>
              </a:p>
            </p:txBody>
          </p:sp>
          <p:grpSp>
            <p:nvGrpSpPr>
              <p:cNvPr id="12" name="Grafik 3">
                <a:extLst>
                  <a:ext uri="{FF2B5EF4-FFF2-40B4-BE49-F238E27FC236}">
                    <a16:creationId xmlns:a16="http://schemas.microsoft.com/office/drawing/2014/main" id="{40E1B1FB-6C13-D732-B375-1D2C66D47394}"/>
                  </a:ext>
                </a:extLst>
              </p:cNvPr>
              <p:cNvGrpSpPr/>
              <p:nvPr/>
            </p:nvGrpSpPr>
            <p:grpSpPr>
              <a:xfrm>
                <a:off x="8364389" y="1113772"/>
                <a:ext cx="161343" cy="157630"/>
                <a:chOff x="8364389" y="1113772"/>
                <a:chExt cx="161343" cy="157630"/>
              </a:xfrm>
              <a:solidFill>
                <a:srgbClr val="3C3C46"/>
              </a:solidFill>
            </p:grpSpPr>
            <p:sp>
              <p:nvSpPr>
                <p:cNvPr id="13" name="Freeform: Shape 12">
                  <a:extLst>
                    <a:ext uri="{FF2B5EF4-FFF2-40B4-BE49-F238E27FC236}">
                      <a16:creationId xmlns:a16="http://schemas.microsoft.com/office/drawing/2014/main" id="{02DE9128-D17C-C315-91DF-BA546F272CE3}"/>
                    </a:ext>
                  </a:extLst>
                </p:cNvPr>
                <p:cNvSpPr/>
                <p:nvPr/>
              </p:nvSpPr>
              <p:spPr>
                <a:xfrm>
                  <a:off x="8364389" y="1116547"/>
                  <a:ext cx="39338" cy="80410"/>
                </a:xfrm>
                <a:custGeom>
                  <a:avLst/>
                  <a:gdLst>
                    <a:gd name="connsiteX0" fmla="*/ 14457 w 39338"/>
                    <a:gd name="connsiteY0" fmla="*/ 3996 h 80410"/>
                    <a:gd name="connsiteX1" fmla="*/ 40 w 39338"/>
                    <a:gd name="connsiteY1" fmla="*/ 77935 h 80410"/>
                    <a:gd name="connsiteX2" fmla="*/ 2086 w 39338"/>
                    <a:gd name="connsiteY2" fmla="*/ 80411 h 80410"/>
                    <a:gd name="connsiteX3" fmla="*/ 22381 w 39338"/>
                    <a:gd name="connsiteY3" fmla="*/ 80411 h 80410"/>
                    <a:gd name="connsiteX4" fmla="*/ 24427 w 39338"/>
                    <a:gd name="connsiteY4" fmla="*/ 78726 h 80410"/>
                    <a:gd name="connsiteX5" fmla="*/ 39299 w 39338"/>
                    <a:gd name="connsiteY5" fmla="*/ 2480 h 80410"/>
                    <a:gd name="connsiteX6" fmla="*/ 37026 w 39338"/>
                    <a:gd name="connsiteY6" fmla="*/ 13 h 80410"/>
                    <a:gd name="connsiteX7" fmla="*/ 16276 w 39338"/>
                    <a:gd name="connsiteY7" fmla="*/ 2320 h 80410"/>
                    <a:gd name="connsiteX8" fmla="*/ 14465 w 39338"/>
                    <a:gd name="connsiteY8" fmla="*/ 3987 h 8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38" h="80410">
                      <a:moveTo>
                        <a:pt x="14457" y="3996"/>
                      </a:moveTo>
                      <a:lnTo>
                        <a:pt x="40" y="77935"/>
                      </a:lnTo>
                      <a:cubicBezTo>
                        <a:pt x="-213" y="79223"/>
                        <a:pt x="772" y="80411"/>
                        <a:pt x="2086" y="80411"/>
                      </a:cubicBezTo>
                      <a:lnTo>
                        <a:pt x="22381" y="80411"/>
                      </a:lnTo>
                      <a:cubicBezTo>
                        <a:pt x="23375" y="80411"/>
                        <a:pt x="24234" y="79703"/>
                        <a:pt x="24427" y="78726"/>
                      </a:cubicBezTo>
                      <a:lnTo>
                        <a:pt x="39299" y="2480"/>
                      </a:lnTo>
                      <a:cubicBezTo>
                        <a:pt x="39569" y="1099"/>
                        <a:pt x="38424" y="-139"/>
                        <a:pt x="37026" y="13"/>
                      </a:cubicBezTo>
                      <a:lnTo>
                        <a:pt x="16276" y="2320"/>
                      </a:lnTo>
                      <a:cubicBezTo>
                        <a:pt x="15375" y="2421"/>
                        <a:pt x="14634" y="3095"/>
                        <a:pt x="14465" y="3987"/>
                      </a:cubicBezTo>
                      <a:close/>
                    </a:path>
                  </a:pathLst>
                </a:custGeom>
                <a:solidFill>
                  <a:srgbClr val="3C3C46"/>
                </a:solidFill>
                <a:ln w="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70121494-D5ED-1346-5A18-CE24B561FE66}"/>
                    </a:ext>
                  </a:extLst>
                </p:cNvPr>
                <p:cNvSpPr/>
                <p:nvPr/>
              </p:nvSpPr>
              <p:spPr>
                <a:xfrm>
                  <a:off x="8403742" y="1113772"/>
                  <a:ext cx="98618" cy="83176"/>
                </a:xfrm>
                <a:custGeom>
                  <a:avLst/>
                  <a:gdLst>
                    <a:gd name="connsiteX0" fmla="*/ 97768 w 98618"/>
                    <a:gd name="connsiteY0" fmla="*/ 41037 h 83176"/>
                    <a:gd name="connsiteX1" fmla="*/ 85995 w 98618"/>
                    <a:gd name="connsiteY1" fmla="*/ 28700 h 83176"/>
                    <a:gd name="connsiteX2" fmla="*/ 84892 w 98618"/>
                    <a:gd name="connsiteY2" fmla="*/ 25946 h 83176"/>
                    <a:gd name="connsiteX3" fmla="*/ 84892 w 98618"/>
                    <a:gd name="connsiteY3" fmla="*/ 25769 h 83176"/>
                    <a:gd name="connsiteX4" fmla="*/ 76327 w 98618"/>
                    <a:gd name="connsiteY4" fmla="*/ 6324 h 83176"/>
                    <a:gd name="connsiteX5" fmla="*/ 51249 w 98618"/>
                    <a:gd name="connsiteY5" fmla="*/ 0 h 83176"/>
                    <a:gd name="connsiteX6" fmla="*/ 34584 w 98618"/>
                    <a:gd name="connsiteY6" fmla="*/ 1701 h 83176"/>
                    <a:gd name="connsiteX7" fmla="*/ 22465 w 98618"/>
                    <a:gd name="connsiteY7" fmla="*/ 7335 h 83176"/>
                    <a:gd name="connsiteX8" fmla="*/ 14288 w 98618"/>
                    <a:gd name="connsiteY8" fmla="*/ 17516 h 83176"/>
                    <a:gd name="connsiteX9" fmla="*/ 9429 w 98618"/>
                    <a:gd name="connsiteY9" fmla="*/ 32868 h 83176"/>
                    <a:gd name="connsiteX10" fmla="*/ 40 w 98618"/>
                    <a:gd name="connsiteY10" fmla="*/ 80693 h 83176"/>
                    <a:gd name="connsiteX11" fmla="*/ 2086 w 98618"/>
                    <a:gd name="connsiteY11" fmla="*/ 83177 h 83176"/>
                    <a:gd name="connsiteX12" fmla="*/ 22381 w 98618"/>
                    <a:gd name="connsiteY12" fmla="*/ 83177 h 83176"/>
                    <a:gd name="connsiteX13" fmla="*/ 24427 w 98618"/>
                    <a:gd name="connsiteY13" fmla="*/ 81493 h 83176"/>
                    <a:gd name="connsiteX14" fmla="*/ 33666 w 98618"/>
                    <a:gd name="connsiteY14" fmla="*/ 34098 h 83176"/>
                    <a:gd name="connsiteX15" fmla="*/ 35594 w 98618"/>
                    <a:gd name="connsiteY15" fmla="*/ 27234 h 83176"/>
                    <a:gd name="connsiteX16" fmla="*/ 38525 w 98618"/>
                    <a:gd name="connsiteY16" fmla="*/ 22914 h 83176"/>
                    <a:gd name="connsiteX17" fmla="*/ 42921 w 98618"/>
                    <a:gd name="connsiteY17" fmla="*/ 20598 h 83176"/>
                    <a:gd name="connsiteX18" fmla="*/ 49556 w 98618"/>
                    <a:gd name="connsiteY18" fmla="*/ 19908 h 83176"/>
                    <a:gd name="connsiteX19" fmla="*/ 57506 w 98618"/>
                    <a:gd name="connsiteY19" fmla="*/ 21988 h 83176"/>
                    <a:gd name="connsiteX20" fmla="*/ 60209 w 98618"/>
                    <a:gd name="connsiteY20" fmla="*/ 28851 h 83176"/>
                    <a:gd name="connsiteX21" fmla="*/ 60058 w 98618"/>
                    <a:gd name="connsiteY21" fmla="*/ 31243 h 83176"/>
                    <a:gd name="connsiteX22" fmla="*/ 59594 w 98618"/>
                    <a:gd name="connsiteY22" fmla="*/ 34098 h 83176"/>
                    <a:gd name="connsiteX23" fmla="*/ 50508 w 98618"/>
                    <a:gd name="connsiteY23" fmla="*/ 80693 h 83176"/>
                    <a:gd name="connsiteX24" fmla="*/ 52554 w 98618"/>
                    <a:gd name="connsiteY24" fmla="*/ 83169 h 83176"/>
                    <a:gd name="connsiteX25" fmla="*/ 72849 w 98618"/>
                    <a:gd name="connsiteY25" fmla="*/ 83169 h 83176"/>
                    <a:gd name="connsiteX26" fmla="*/ 74896 w 98618"/>
                    <a:gd name="connsiteY26" fmla="*/ 81484 h 83176"/>
                    <a:gd name="connsiteX27" fmla="*/ 78938 w 98618"/>
                    <a:gd name="connsiteY27" fmla="*/ 60557 h 83176"/>
                    <a:gd name="connsiteX28" fmla="*/ 80471 w 98618"/>
                    <a:gd name="connsiteY28" fmla="*/ 58115 h 83176"/>
                    <a:gd name="connsiteX29" fmla="*/ 97414 w 98618"/>
                    <a:gd name="connsiteY29" fmla="*/ 45492 h 83176"/>
                    <a:gd name="connsiteX30" fmla="*/ 97793 w 98618"/>
                    <a:gd name="connsiteY30" fmla="*/ 41028 h 8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8618" h="83176">
                      <a:moveTo>
                        <a:pt x="97768" y="41037"/>
                      </a:moveTo>
                      <a:lnTo>
                        <a:pt x="85995" y="28700"/>
                      </a:lnTo>
                      <a:cubicBezTo>
                        <a:pt x="85288" y="27959"/>
                        <a:pt x="84892" y="26973"/>
                        <a:pt x="84892" y="25946"/>
                      </a:cubicBezTo>
                      <a:lnTo>
                        <a:pt x="84892" y="25769"/>
                      </a:lnTo>
                      <a:cubicBezTo>
                        <a:pt x="84892" y="17028"/>
                        <a:pt x="82037" y="10543"/>
                        <a:pt x="76327" y="6324"/>
                      </a:cubicBezTo>
                      <a:cubicBezTo>
                        <a:pt x="70618" y="2105"/>
                        <a:pt x="62256" y="0"/>
                        <a:pt x="51249" y="0"/>
                      </a:cubicBezTo>
                      <a:cubicBezTo>
                        <a:pt x="44866" y="0"/>
                        <a:pt x="39316" y="564"/>
                        <a:pt x="34584" y="1701"/>
                      </a:cubicBezTo>
                      <a:cubicBezTo>
                        <a:pt x="29851" y="2838"/>
                        <a:pt x="25809" y="4708"/>
                        <a:pt x="22465" y="7335"/>
                      </a:cubicBezTo>
                      <a:cubicBezTo>
                        <a:pt x="19122" y="9962"/>
                        <a:pt x="16394" y="13356"/>
                        <a:pt x="14288" y="17516"/>
                      </a:cubicBezTo>
                      <a:cubicBezTo>
                        <a:pt x="12175" y="21685"/>
                        <a:pt x="10558" y="26805"/>
                        <a:pt x="9429" y="32868"/>
                      </a:cubicBezTo>
                      <a:lnTo>
                        <a:pt x="40" y="80693"/>
                      </a:lnTo>
                      <a:cubicBezTo>
                        <a:pt x="-213" y="81981"/>
                        <a:pt x="772" y="83177"/>
                        <a:pt x="2086" y="83177"/>
                      </a:cubicBezTo>
                      <a:lnTo>
                        <a:pt x="22381" y="83177"/>
                      </a:lnTo>
                      <a:cubicBezTo>
                        <a:pt x="23375" y="83177"/>
                        <a:pt x="24234" y="82470"/>
                        <a:pt x="24427" y="81493"/>
                      </a:cubicBezTo>
                      <a:lnTo>
                        <a:pt x="33666" y="34098"/>
                      </a:lnTo>
                      <a:cubicBezTo>
                        <a:pt x="34179" y="31319"/>
                        <a:pt x="34819" y="29028"/>
                        <a:pt x="35594" y="27234"/>
                      </a:cubicBezTo>
                      <a:cubicBezTo>
                        <a:pt x="36369" y="25432"/>
                        <a:pt x="37346" y="23992"/>
                        <a:pt x="38525" y="22914"/>
                      </a:cubicBezTo>
                      <a:cubicBezTo>
                        <a:pt x="39704" y="21836"/>
                        <a:pt x="41169" y="21062"/>
                        <a:pt x="42921" y="20598"/>
                      </a:cubicBezTo>
                      <a:cubicBezTo>
                        <a:pt x="44672" y="20135"/>
                        <a:pt x="46878" y="19908"/>
                        <a:pt x="49556" y="19908"/>
                      </a:cubicBezTo>
                      <a:cubicBezTo>
                        <a:pt x="53051" y="19908"/>
                        <a:pt x="55704" y="20598"/>
                        <a:pt x="57506" y="21988"/>
                      </a:cubicBezTo>
                      <a:cubicBezTo>
                        <a:pt x="59308" y="23377"/>
                        <a:pt x="60209" y="25668"/>
                        <a:pt x="60209" y="28851"/>
                      </a:cubicBezTo>
                      <a:cubicBezTo>
                        <a:pt x="60209" y="29576"/>
                        <a:pt x="60159" y="30367"/>
                        <a:pt x="60058" y="31243"/>
                      </a:cubicBezTo>
                      <a:cubicBezTo>
                        <a:pt x="59957" y="32119"/>
                        <a:pt x="59797" y="33070"/>
                        <a:pt x="59594" y="34098"/>
                      </a:cubicBezTo>
                      <a:lnTo>
                        <a:pt x="50508" y="80693"/>
                      </a:lnTo>
                      <a:cubicBezTo>
                        <a:pt x="50255" y="81981"/>
                        <a:pt x="51241" y="83169"/>
                        <a:pt x="52554" y="83169"/>
                      </a:cubicBezTo>
                      <a:lnTo>
                        <a:pt x="72849" y="83169"/>
                      </a:lnTo>
                      <a:cubicBezTo>
                        <a:pt x="73843" y="83169"/>
                        <a:pt x="74702" y="82461"/>
                        <a:pt x="74896" y="81484"/>
                      </a:cubicBezTo>
                      <a:lnTo>
                        <a:pt x="78938" y="60557"/>
                      </a:lnTo>
                      <a:cubicBezTo>
                        <a:pt x="79123" y="59581"/>
                        <a:pt x="79671" y="58713"/>
                        <a:pt x="80471" y="58115"/>
                      </a:cubicBezTo>
                      <a:lnTo>
                        <a:pt x="97414" y="45492"/>
                      </a:lnTo>
                      <a:cubicBezTo>
                        <a:pt x="98854" y="44422"/>
                        <a:pt x="99031" y="42325"/>
                        <a:pt x="97793" y="41028"/>
                      </a:cubicBezTo>
                      <a:close/>
                    </a:path>
                  </a:pathLst>
                </a:custGeom>
                <a:solidFill>
                  <a:srgbClr val="3C3C46"/>
                </a:solidFill>
                <a:ln w="0" cap="flat">
                  <a:noFill/>
                  <a:prstDash val="solid"/>
                  <a:miter/>
                </a:ln>
              </p:spPr>
              <p:txBody>
                <a:bodyPr rtlCol="0" anchor="ctr"/>
                <a:lstStyle/>
                <a:p>
                  <a:endParaRPr lang="en-US"/>
                </a:p>
              </p:txBody>
            </p:sp>
          </p:grpSp>
        </p:grpSp>
        <p:grpSp>
          <p:nvGrpSpPr>
            <p:cNvPr id="15" name="Grafik 3">
              <a:extLst>
                <a:ext uri="{FF2B5EF4-FFF2-40B4-BE49-F238E27FC236}">
                  <a16:creationId xmlns:a16="http://schemas.microsoft.com/office/drawing/2014/main" id="{6FA9C962-776F-C296-78E4-6321A11C4685}"/>
                </a:ext>
              </a:extLst>
            </p:cNvPr>
            <p:cNvGrpSpPr/>
            <p:nvPr/>
          </p:nvGrpSpPr>
          <p:grpSpPr>
            <a:xfrm>
              <a:off x="8088171" y="1123238"/>
              <a:ext cx="303501" cy="142789"/>
              <a:chOff x="8088171" y="1123238"/>
              <a:chExt cx="303501" cy="142789"/>
            </a:xfrm>
            <a:solidFill>
              <a:srgbClr val="3C3C46"/>
            </a:solidFill>
          </p:grpSpPr>
          <p:sp>
            <p:nvSpPr>
              <p:cNvPr id="16" name="Freeform: Shape 15">
                <a:extLst>
                  <a:ext uri="{FF2B5EF4-FFF2-40B4-BE49-F238E27FC236}">
                    <a16:creationId xmlns:a16="http://schemas.microsoft.com/office/drawing/2014/main" id="{954DAB26-787C-915A-1A87-2D1525FFF5BE}"/>
                  </a:ext>
                </a:extLst>
              </p:cNvPr>
              <p:cNvSpPr/>
              <p:nvPr/>
            </p:nvSpPr>
            <p:spPr>
              <a:xfrm>
                <a:off x="8088171" y="1140602"/>
                <a:ext cx="46762" cy="57988"/>
              </a:xfrm>
              <a:custGeom>
                <a:avLst/>
                <a:gdLst>
                  <a:gd name="connsiteX0" fmla="*/ 0 w 46762"/>
                  <a:gd name="connsiteY0" fmla="*/ 57980 h 57988"/>
                  <a:gd name="connsiteX1" fmla="*/ 7293 w 46762"/>
                  <a:gd name="connsiteY1" fmla="*/ 20059 h 57988"/>
                  <a:gd name="connsiteX2" fmla="*/ 10400 w 46762"/>
                  <a:gd name="connsiteY2" fmla="*/ 10274 h 57988"/>
                  <a:gd name="connsiteX3" fmla="*/ 15066 w 46762"/>
                  <a:gd name="connsiteY3" fmla="*/ 4093 h 57988"/>
                  <a:gd name="connsiteX4" fmla="*/ 21247 w 46762"/>
                  <a:gd name="connsiteY4" fmla="*/ 901 h 57988"/>
                  <a:gd name="connsiteX5" fmla="*/ 28826 w 46762"/>
                  <a:gd name="connsiteY5" fmla="*/ 0 h 57988"/>
                  <a:gd name="connsiteX6" fmla="*/ 42342 w 46762"/>
                  <a:gd name="connsiteY6" fmla="*/ 3849 h 57988"/>
                  <a:gd name="connsiteX7" fmla="*/ 46763 w 46762"/>
                  <a:gd name="connsiteY7" fmla="*/ 15807 h 57988"/>
                  <a:gd name="connsiteX8" fmla="*/ 46477 w 46762"/>
                  <a:gd name="connsiteY8" fmla="*/ 19899 h 57988"/>
                  <a:gd name="connsiteX9" fmla="*/ 45702 w 46762"/>
                  <a:gd name="connsiteY9" fmla="*/ 24649 h 57988"/>
                  <a:gd name="connsiteX10" fmla="*/ 42712 w 46762"/>
                  <a:gd name="connsiteY10" fmla="*/ 33988 h 57988"/>
                  <a:gd name="connsiteX11" fmla="*/ 38291 w 46762"/>
                  <a:gd name="connsiteY11" fmla="*/ 40296 h 57988"/>
                  <a:gd name="connsiteX12" fmla="*/ 32312 w 46762"/>
                  <a:gd name="connsiteY12" fmla="*/ 43858 h 57988"/>
                  <a:gd name="connsiteX13" fmla="*/ 24657 w 46762"/>
                  <a:gd name="connsiteY13" fmla="*/ 44961 h 57988"/>
                  <a:gd name="connsiteX14" fmla="*/ 16792 w 46762"/>
                  <a:gd name="connsiteY14" fmla="*/ 43816 h 57988"/>
                  <a:gd name="connsiteX15" fmla="*/ 11874 w 46762"/>
                  <a:gd name="connsiteY15" fmla="*/ 40296 h 57988"/>
                  <a:gd name="connsiteX16" fmla="*/ 8438 w 46762"/>
                  <a:gd name="connsiteY16" fmla="*/ 57989 h 57988"/>
                  <a:gd name="connsiteX17" fmla="*/ 0 w 46762"/>
                  <a:gd name="connsiteY17" fmla="*/ 57989 h 57988"/>
                  <a:gd name="connsiteX18" fmla="*/ 28742 w 46762"/>
                  <a:gd name="connsiteY18" fmla="*/ 7040 h 57988"/>
                  <a:gd name="connsiteX19" fmla="*/ 23908 w 46762"/>
                  <a:gd name="connsiteY19" fmla="*/ 7613 h 57988"/>
                  <a:gd name="connsiteX20" fmla="*/ 20304 w 46762"/>
                  <a:gd name="connsiteY20" fmla="*/ 9659 h 57988"/>
                  <a:gd name="connsiteX21" fmla="*/ 17642 w 46762"/>
                  <a:gd name="connsiteY21" fmla="*/ 13710 h 57988"/>
                  <a:gd name="connsiteX22" fmla="*/ 15722 w 46762"/>
                  <a:gd name="connsiteY22" fmla="*/ 20304 h 57988"/>
                  <a:gd name="connsiteX23" fmla="*/ 14863 w 46762"/>
                  <a:gd name="connsiteY23" fmla="*/ 25213 h 57988"/>
                  <a:gd name="connsiteX24" fmla="*/ 14577 w 46762"/>
                  <a:gd name="connsiteY24" fmla="*/ 28902 h 57988"/>
                  <a:gd name="connsiteX25" fmla="*/ 15234 w 46762"/>
                  <a:gd name="connsiteY25" fmla="*/ 33281 h 57988"/>
                  <a:gd name="connsiteX26" fmla="*/ 17154 w 46762"/>
                  <a:gd name="connsiteY26" fmla="*/ 36068 h 57988"/>
                  <a:gd name="connsiteX27" fmla="*/ 20270 w 46762"/>
                  <a:gd name="connsiteY27" fmla="*/ 37500 h 57988"/>
                  <a:gd name="connsiteX28" fmla="*/ 24573 w 46762"/>
                  <a:gd name="connsiteY28" fmla="*/ 37913 h 57988"/>
                  <a:gd name="connsiteX29" fmla="*/ 29281 w 46762"/>
                  <a:gd name="connsiteY29" fmla="*/ 37382 h 57988"/>
                  <a:gd name="connsiteX30" fmla="*/ 32758 w 46762"/>
                  <a:gd name="connsiteY30" fmla="*/ 35336 h 57988"/>
                  <a:gd name="connsiteX31" fmla="*/ 35293 w 46762"/>
                  <a:gd name="connsiteY31" fmla="*/ 31201 h 57988"/>
                  <a:gd name="connsiteX32" fmla="*/ 37255 w 46762"/>
                  <a:gd name="connsiteY32" fmla="*/ 24405 h 57988"/>
                  <a:gd name="connsiteX33" fmla="*/ 38072 w 46762"/>
                  <a:gd name="connsiteY33" fmla="*/ 19655 h 57988"/>
                  <a:gd name="connsiteX34" fmla="*/ 38317 w 46762"/>
                  <a:gd name="connsiteY34" fmla="*/ 15967 h 57988"/>
                  <a:gd name="connsiteX35" fmla="*/ 37660 w 46762"/>
                  <a:gd name="connsiteY35" fmla="*/ 11503 h 57988"/>
                  <a:gd name="connsiteX36" fmla="*/ 35773 w 46762"/>
                  <a:gd name="connsiteY36" fmla="*/ 8758 h 57988"/>
                  <a:gd name="connsiteX37" fmla="*/ 32742 w 46762"/>
                  <a:gd name="connsiteY37" fmla="*/ 7402 h 57988"/>
                  <a:gd name="connsiteX38" fmla="*/ 28725 w 46762"/>
                  <a:gd name="connsiteY38" fmla="*/ 7032 h 5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6762" h="57988">
                    <a:moveTo>
                      <a:pt x="0" y="57980"/>
                    </a:moveTo>
                    <a:lnTo>
                      <a:pt x="7293" y="20059"/>
                    </a:lnTo>
                    <a:cubicBezTo>
                      <a:pt x="8059" y="16127"/>
                      <a:pt x="9095" y="12868"/>
                      <a:pt x="10400" y="10274"/>
                    </a:cubicBezTo>
                    <a:cubicBezTo>
                      <a:pt x="11714" y="7680"/>
                      <a:pt x="13272" y="5617"/>
                      <a:pt x="15066" y="4093"/>
                    </a:cubicBezTo>
                    <a:cubicBezTo>
                      <a:pt x="16868" y="2569"/>
                      <a:pt x="18931" y="1499"/>
                      <a:pt x="21247" y="901"/>
                    </a:cubicBezTo>
                    <a:cubicBezTo>
                      <a:pt x="23571" y="303"/>
                      <a:pt x="26089" y="0"/>
                      <a:pt x="28826" y="0"/>
                    </a:cubicBezTo>
                    <a:cubicBezTo>
                      <a:pt x="34889" y="0"/>
                      <a:pt x="39394" y="1280"/>
                      <a:pt x="42342" y="3849"/>
                    </a:cubicBezTo>
                    <a:cubicBezTo>
                      <a:pt x="45289" y="6417"/>
                      <a:pt x="46763" y="10400"/>
                      <a:pt x="46763" y="15807"/>
                    </a:cubicBezTo>
                    <a:cubicBezTo>
                      <a:pt x="46763" y="17011"/>
                      <a:pt x="46670" y="18375"/>
                      <a:pt x="46477" y="19899"/>
                    </a:cubicBezTo>
                    <a:cubicBezTo>
                      <a:pt x="46283" y="21432"/>
                      <a:pt x="46030" y="23015"/>
                      <a:pt x="45702" y="24649"/>
                    </a:cubicBezTo>
                    <a:cubicBezTo>
                      <a:pt x="44936" y="28304"/>
                      <a:pt x="43942" y="31420"/>
                      <a:pt x="42712" y="33988"/>
                    </a:cubicBezTo>
                    <a:cubicBezTo>
                      <a:pt x="41483" y="36557"/>
                      <a:pt x="40009" y="38654"/>
                      <a:pt x="38291" y="40296"/>
                    </a:cubicBezTo>
                    <a:cubicBezTo>
                      <a:pt x="36573" y="41938"/>
                      <a:pt x="34577" y="43125"/>
                      <a:pt x="32312" y="43858"/>
                    </a:cubicBezTo>
                    <a:cubicBezTo>
                      <a:pt x="30047" y="44599"/>
                      <a:pt x="27495" y="44961"/>
                      <a:pt x="24657" y="44961"/>
                    </a:cubicBezTo>
                    <a:cubicBezTo>
                      <a:pt x="21600" y="44961"/>
                      <a:pt x="18981" y="44582"/>
                      <a:pt x="16792" y="43816"/>
                    </a:cubicBezTo>
                    <a:cubicBezTo>
                      <a:pt x="14611" y="43050"/>
                      <a:pt x="12969" y="41879"/>
                      <a:pt x="11874" y="40296"/>
                    </a:cubicBezTo>
                    <a:lnTo>
                      <a:pt x="8438" y="57989"/>
                    </a:lnTo>
                    <a:lnTo>
                      <a:pt x="0" y="57989"/>
                    </a:lnTo>
                    <a:close/>
                    <a:moveTo>
                      <a:pt x="28742" y="7040"/>
                    </a:moveTo>
                    <a:cubicBezTo>
                      <a:pt x="26880" y="7040"/>
                      <a:pt x="25272" y="7234"/>
                      <a:pt x="23908" y="7613"/>
                    </a:cubicBezTo>
                    <a:cubicBezTo>
                      <a:pt x="22544" y="7992"/>
                      <a:pt x="21339" y="8674"/>
                      <a:pt x="20304" y="9659"/>
                    </a:cubicBezTo>
                    <a:cubicBezTo>
                      <a:pt x="19268" y="10645"/>
                      <a:pt x="18375" y="11992"/>
                      <a:pt x="17642" y="13710"/>
                    </a:cubicBezTo>
                    <a:cubicBezTo>
                      <a:pt x="16910" y="15428"/>
                      <a:pt x="16261" y="17626"/>
                      <a:pt x="15722" y="20304"/>
                    </a:cubicBezTo>
                    <a:cubicBezTo>
                      <a:pt x="15335" y="22055"/>
                      <a:pt x="15049" y="23689"/>
                      <a:pt x="14863" y="25213"/>
                    </a:cubicBezTo>
                    <a:cubicBezTo>
                      <a:pt x="14670" y="26746"/>
                      <a:pt x="14577" y="27975"/>
                      <a:pt x="14577" y="28902"/>
                    </a:cubicBezTo>
                    <a:cubicBezTo>
                      <a:pt x="14577" y="30645"/>
                      <a:pt x="14796" y="32110"/>
                      <a:pt x="15234" y="33281"/>
                    </a:cubicBezTo>
                    <a:cubicBezTo>
                      <a:pt x="15672" y="34451"/>
                      <a:pt x="16312" y="35386"/>
                      <a:pt x="17154" y="36068"/>
                    </a:cubicBezTo>
                    <a:cubicBezTo>
                      <a:pt x="18005" y="36750"/>
                      <a:pt x="19040" y="37230"/>
                      <a:pt x="20270" y="37500"/>
                    </a:cubicBezTo>
                    <a:cubicBezTo>
                      <a:pt x="21499" y="37778"/>
                      <a:pt x="22931" y="37913"/>
                      <a:pt x="24573" y="37913"/>
                    </a:cubicBezTo>
                    <a:cubicBezTo>
                      <a:pt x="26375" y="37913"/>
                      <a:pt x="27942" y="37736"/>
                      <a:pt x="29281" y="37382"/>
                    </a:cubicBezTo>
                    <a:cubicBezTo>
                      <a:pt x="30620" y="37028"/>
                      <a:pt x="31782" y="36346"/>
                      <a:pt x="32758" y="35336"/>
                    </a:cubicBezTo>
                    <a:cubicBezTo>
                      <a:pt x="33744" y="34325"/>
                      <a:pt x="34586" y="32944"/>
                      <a:pt x="35293" y="31201"/>
                    </a:cubicBezTo>
                    <a:cubicBezTo>
                      <a:pt x="36001" y="29458"/>
                      <a:pt x="36658" y="27184"/>
                      <a:pt x="37255" y="24405"/>
                    </a:cubicBezTo>
                    <a:cubicBezTo>
                      <a:pt x="37634" y="22662"/>
                      <a:pt x="37912" y="21078"/>
                      <a:pt x="38072" y="19655"/>
                    </a:cubicBezTo>
                    <a:cubicBezTo>
                      <a:pt x="38241" y="18232"/>
                      <a:pt x="38317" y="17011"/>
                      <a:pt x="38317" y="15967"/>
                    </a:cubicBezTo>
                    <a:cubicBezTo>
                      <a:pt x="38317" y="14165"/>
                      <a:pt x="38098" y="12674"/>
                      <a:pt x="37660" y="11503"/>
                    </a:cubicBezTo>
                    <a:cubicBezTo>
                      <a:pt x="37222" y="10333"/>
                      <a:pt x="36599" y="9415"/>
                      <a:pt x="35773" y="8758"/>
                    </a:cubicBezTo>
                    <a:cubicBezTo>
                      <a:pt x="34956" y="8101"/>
                      <a:pt x="33946" y="7655"/>
                      <a:pt x="32742" y="7402"/>
                    </a:cubicBezTo>
                    <a:cubicBezTo>
                      <a:pt x="31537" y="7158"/>
                      <a:pt x="30207" y="7032"/>
                      <a:pt x="28725" y="7032"/>
                    </a:cubicBezTo>
                    <a:close/>
                  </a:path>
                </a:pathLst>
              </a:custGeom>
              <a:solidFill>
                <a:srgbClr val="3C3C46"/>
              </a:solidFill>
              <a:ln w="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E9FA577A-61A7-CBCA-19CE-B157E647550F}"/>
                  </a:ext>
                </a:extLst>
              </p:cNvPr>
              <p:cNvSpPr/>
              <p:nvPr/>
            </p:nvSpPr>
            <p:spPr>
              <a:xfrm>
                <a:off x="8139743" y="1141756"/>
                <a:ext cx="38745" cy="43243"/>
              </a:xfrm>
              <a:custGeom>
                <a:avLst/>
                <a:gdLst>
                  <a:gd name="connsiteX0" fmla="*/ 17794 w 38745"/>
                  <a:gd name="connsiteY0" fmla="*/ 15310 h 43243"/>
                  <a:gd name="connsiteX1" fmla="*/ 25120 w 38745"/>
                  <a:gd name="connsiteY1" fmla="*/ 16085 h 43243"/>
                  <a:gd name="connsiteX2" fmla="*/ 30156 w 38745"/>
                  <a:gd name="connsiteY2" fmla="*/ 18746 h 43243"/>
                  <a:gd name="connsiteX3" fmla="*/ 30485 w 38745"/>
                  <a:gd name="connsiteY3" fmla="*/ 17112 h 43243"/>
                  <a:gd name="connsiteX4" fmla="*/ 30973 w 38745"/>
                  <a:gd name="connsiteY4" fmla="*/ 13179 h 43243"/>
                  <a:gd name="connsiteX5" fmla="*/ 28885 w 38745"/>
                  <a:gd name="connsiteY5" fmla="*/ 8548 h 43243"/>
                  <a:gd name="connsiteX6" fmla="*/ 21558 w 38745"/>
                  <a:gd name="connsiteY6" fmla="*/ 7116 h 43243"/>
                  <a:gd name="connsiteX7" fmla="*/ 14552 w 38745"/>
                  <a:gd name="connsiteY7" fmla="*/ 7116 h 43243"/>
                  <a:gd name="connsiteX8" fmla="*/ 11360 w 38745"/>
                  <a:gd name="connsiteY8" fmla="*/ 7158 h 43243"/>
                  <a:gd name="connsiteX9" fmla="*/ 7301 w 38745"/>
                  <a:gd name="connsiteY9" fmla="*/ 7284 h 43243"/>
                  <a:gd name="connsiteX10" fmla="*/ 10004 w 38745"/>
                  <a:gd name="connsiteY10" fmla="*/ 160 h 43243"/>
                  <a:gd name="connsiteX11" fmla="*/ 16068 w 38745"/>
                  <a:gd name="connsiteY11" fmla="*/ 0 h 43243"/>
                  <a:gd name="connsiteX12" fmla="*/ 22291 w 38745"/>
                  <a:gd name="connsiteY12" fmla="*/ 0 h 43243"/>
                  <a:gd name="connsiteX13" fmla="*/ 29904 w 38745"/>
                  <a:gd name="connsiteY13" fmla="*/ 817 h 43243"/>
                  <a:gd name="connsiteX14" fmla="*/ 34982 w 38745"/>
                  <a:gd name="connsiteY14" fmla="*/ 3234 h 43243"/>
                  <a:gd name="connsiteX15" fmla="*/ 37845 w 38745"/>
                  <a:gd name="connsiteY15" fmla="*/ 7124 h 43243"/>
                  <a:gd name="connsiteX16" fmla="*/ 38746 w 38745"/>
                  <a:gd name="connsiteY16" fmla="*/ 12362 h 43243"/>
                  <a:gd name="connsiteX17" fmla="*/ 38578 w 38745"/>
                  <a:gd name="connsiteY17" fmla="*/ 14821 h 43243"/>
                  <a:gd name="connsiteX18" fmla="*/ 38165 w 38745"/>
                  <a:gd name="connsiteY18" fmla="*/ 17525 h 43243"/>
                  <a:gd name="connsiteX19" fmla="*/ 34729 w 38745"/>
                  <a:gd name="connsiteY19" fmla="*/ 35706 h 43243"/>
                  <a:gd name="connsiteX20" fmla="*/ 33702 w 38745"/>
                  <a:gd name="connsiteY20" fmla="*/ 38856 h 43243"/>
                  <a:gd name="connsiteX21" fmla="*/ 32102 w 38745"/>
                  <a:gd name="connsiteY21" fmla="*/ 40902 h 43243"/>
                  <a:gd name="connsiteX22" fmla="*/ 29727 w 38745"/>
                  <a:gd name="connsiteY22" fmla="*/ 42047 h 43243"/>
                  <a:gd name="connsiteX23" fmla="*/ 26535 w 38745"/>
                  <a:gd name="connsiteY23" fmla="*/ 42662 h 43243"/>
                  <a:gd name="connsiteX24" fmla="*/ 24160 w 38745"/>
                  <a:gd name="connsiteY24" fmla="*/ 42906 h 43243"/>
                  <a:gd name="connsiteX25" fmla="*/ 21499 w 38745"/>
                  <a:gd name="connsiteY25" fmla="*/ 43075 h 43243"/>
                  <a:gd name="connsiteX26" fmla="*/ 18838 w 38745"/>
                  <a:gd name="connsiteY26" fmla="*/ 43201 h 43243"/>
                  <a:gd name="connsiteX27" fmla="*/ 16463 w 38745"/>
                  <a:gd name="connsiteY27" fmla="*/ 43243 h 43243"/>
                  <a:gd name="connsiteX28" fmla="*/ 4017 w 38745"/>
                  <a:gd name="connsiteY28" fmla="*/ 40582 h 43243"/>
                  <a:gd name="connsiteX29" fmla="*/ 0 w 38745"/>
                  <a:gd name="connsiteY29" fmla="*/ 32102 h 43243"/>
                  <a:gd name="connsiteX30" fmla="*/ 126 w 38745"/>
                  <a:gd name="connsiteY30" fmla="*/ 29727 h 43243"/>
                  <a:gd name="connsiteX31" fmla="*/ 573 w 38745"/>
                  <a:gd name="connsiteY31" fmla="*/ 27108 h 43243"/>
                  <a:gd name="connsiteX32" fmla="*/ 5937 w 38745"/>
                  <a:gd name="connsiteY32" fmla="*/ 18468 h 43243"/>
                  <a:gd name="connsiteX33" fmla="*/ 17769 w 38745"/>
                  <a:gd name="connsiteY33" fmla="*/ 15318 h 43243"/>
                  <a:gd name="connsiteX34" fmla="*/ 17550 w 38745"/>
                  <a:gd name="connsiteY34" fmla="*/ 36439 h 43243"/>
                  <a:gd name="connsiteX35" fmla="*/ 22426 w 38745"/>
                  <a:gd name="connsiteY35" fmla="*/ 36279 h 43243"/>
                  <a:gd name="connsiteX36" fmla="*/ 26805 w 38745"/>
                  <a:gd name="connsiteY36" fmla="*/ 35866 h 43243"/>
                  <a:gd name="connsiteX37" fmla="*/ 27950 w 38745"/>
                  <a:gd name="connsiteY37" fmla="*/ 30216 h 43243"/>
                  <a:gd name="connsiteX38" fmla="*/ 28194 w 38745"/>
                  <a:gd name="connsiteY38" fmla="*/ 27757 h 43243"/>
                  <a:gd name="connsiteX39" fmla="*/ 25862 w 38745"/>
                  <a:gd name="connsiteY39" fmla="*/ 23293 h 43243"/>
                  <a:gd name="connsiteX40" fmla="*/ 18535 w 38745"/>
                  <a:gd name="connsiteY40" fmla="*/ 22022 h 43243"/>
                  <a:gd name="connsiteX41" fmla="*/ 11327 w 38745"/>
                  <a:gd name="connsiteY41" fmla="*/ 23377 h 43243"/>
                  <a:gd name="connsiteX42" fmla="*/ 8295 w 38745"/>
                  <a:gd name="connsiteY42" fmla="*/ 28498 h 43243"/>
                  <a:gd name="connsiteX43" fmla="*/ 8051 w 38745"/>
                  <a:gd name="connsiteY43" fmla="*/ 31117 h 43243"/>
                  <a:gd name="connsiteX44" fmla="*/ 10383 w 38745"/>
                  <a:gd name="connsiteY44" fmla="*/ 35454 h 43243"/>
                  <a:gd name="connsiteX45" fmla="*/ 17550 w 38745"/>
                  <a:gd name="connsiteY45" fmla="*/ 36439 h 43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745" h="43243">
                    <a:moveTo>
                      <a:pt x="17794" y="15310"/>
                    </a:moveTo>
                    <a:cubicBezTo>
                      <a:pt x="20413" y="15310"/>
                      <a:pt x="22855" y="15571"/>
                      <a:pt x="25120" y="16085"/>
                    </a:cubicBezTo>
                    <a:cubicBezTo>
                      <a:pt x="27386" y="16607"/>
                      <a:pt x="29062" y="17491"/>
                      <a:pt x="30156" y="18746"/>
                    </a:cubicBezTo>
                    <a:lnTo>
                      <a:pt x="30485" y="17112"/>
                    </a:lnTo>
                    <a:cubicBezTo>
                      <a:pt x="30813" y="15638"/>
                      <a:pt x="30973" y="14325"/>
                      <a:pt x="30973" y="13179"/>
                    </a:cubicBezTo>
                    <a:cubicBezTo>
                      <a:pt x="30973" y="11049"/>
                      <a:pt x="30274" y="9508"/>
                      <a:pt x="28885" y="8548"/>
                    </a:cubicBezTo>
                    <a:cubicBezTo>
                      <a:pt x="27487" y="7596"/>
                      <a:pt x="25045" y="7116"/>
                      <a:pt x="21558" y="7116"/>
                    </a:cubicBezTo>
                    <a:lnTo>
                      <a:pt x="14552" y="7116"/>
                    </a:lnTo>
                    <a:cubicBezTo>
                      <a:pt x="13541" y="7116"/>
                      <a:pt x="12480" y="7133"/>
                      <a:pt x="11360" y="7158"/>
                    </a:cubicBezTo>
                    <a:cubicBezTo>
                      <a:pt x="10240" y="7183"/>
                      <a:pt x="8893" y="7225"/>
                      <a:pt x="7301" y="7284"/>
                    </a:cubicBezTo>
                    <a:lnTo>
                      <a:pt x="10004" y="160"/>
                    </a:lnTo>
                    <a:cubicBezTo>
                      <a:pt x="11857" y="51"/>
                      <a:pt x="13878" y="0"/>
                      <a:pt x="16068" y="0"/>
                    </a:cubicBezTo>
                    <a:lnTo>
                      <a:pt x="22291" y="0"/>
                    </a:lnTo>
                    <a:cubicBezTo>
                      <a:pt x="25297" y="0"/>
                      <a:pt x="27832" y="278"/>
                      <a:pt x="29904" y="817"/>
                    </a:cubicBezTo>
                    <a:cubicBezTo>
                      <a:pt x="31975" y="1364"/>
                      <a:pt x="33668" y="2164"/>
                      <a:pt x="34982" y="3234"/>
                    </a:cubicBezTo>
                    <a:cubicBezTo>
                      <a:pt x="36295" y="4303"/>
                      <a:pt x="37247" y="5600"/>
                      <a:pt x="37845" y="7124"/>
                    </a:cubicBezTo>
                    <a:cubicBezTo>
                      <a:pt x="38443" y="8657"/>
                      <a:pt x="38746" y="10400"/>
                      <a:pt x="38746" y="12362"/>
                    </a:cubicBezTo>
                    <a:cubicBezTo>
                      <a:pt x="38746" y="13129"/>
                      <a:pt x="38687" y="13946"/>
                      <a:pt x="38578" y="14821"/>
                    </a:cubicBezTo>
                    <a:cubicBezTo>
                      <a:pt x="38468" y="15697"/>
                      <a:pt x="38333" y="16598"/>
                      <a:pt x="38165" y="17525"/>
                    </a:cubicBezTo>
                    <a:lnTo>
                      <a:pt x="34729" y="35706"/>
                    </a:lnTo>
                    <a:cubicBezTo>
                      <a:pt x="34451" y="36961"/>
                      <a:pt x="34114" y="38014"/>
                      <a:pt x="33702" y="38856"/>
                    </a:cubicBezTo>
                    <a:cubicBezTo>
                      <a:pt x="33289" y="39706"/>
                      <a:pt x="32758" y="40388"/>
                      <a:pt x="32102" y="40902"/>
                    </a:cubicBezTo>
                    <a:cubicBezTo>
                      <a:pt x="31445" y="41424"/>
                      <a:pt x="30653" y="41803"/>
                      <a:pt x="29727" y="42047"/>
                    </a:cubicBezTo>
                    <a:cubicBezTo>
                      <a:pt x="28801" y="42292"/>
                      <a:pt x="27731" y="42494"/>
                      <a:pt x="26535" y="42662"/>
                    </a:cubicBezTo>
                    <a:cubicBezTo>
                      <a:pt x="25828" y="42772"/>
                      <a:pt x="25028" y="42856"/>
                      <a:pt x="24160" y="42906"/>
                    </a:cubicBezTo>
                    <a:cubicBezTo>
                      <a:pt x="23285" y="42957"/>
                      <a:pt x="22400" y="43016"/>
                      <a:pt x="21499" y="43075"/>
                    </a:cubicBezTo>
                    <a:cubicBezTo>
                      <a:pt x="20598" y="43125"/>
                      <a:pt x="19714" y="43167"/>
                      <a:pt x="18838" y="43201"/>
                    </a:cubicBezTo>
                    <a:cubicBezTo>
                      <a:pt x="17962" y="43235"/>
                      <a:pt x="17171" y="43243"/>
                      <a:pt x="16463" y="43243"/>
                    </a:cubicBezTo>
                    <a:cubicBezTo>
                      <a:pt x="10838" y="43243"/>
                      <a:pt x="6686" y="42359"/>
                      <a:pt x="4017" y="40582"/>
                    </a:cubicBezTo>
                    <a:cubicBezTo>
                      <a:pt x="1339" y="38805"/>
                      <a:pt x="0" y="35984"/>
                      <a:pt x="0" y="32102"/>
                    </a:cubicBezTo>
                    <a:cubicBezTo>
                      <a:pt x="0" y="31336"/>
                      <a:pt x="42" y="30544"/>
                      <a:pt x="126" y="29727"/>
                    </a:cubicBezTo>
                    <a:cubicBezTo>
                      <a:pt x="211" y="28910"/>
                      <a:pt x="362" y="28034"/>
                      <a:pt x="573" y="27108"/>
                    </a:cubicBezTo>
                    <a:cubicBezTo>
                      <a:pt x="1389" y="23453"/>
                      <a:pt x="3183" y="20573"/>
                      <a:pt x="5937" y="18468"/>
                    </a:cubicBezTo>
                    <a:cubicBezTo>
                      <a:pt x="8691" y="16363"/>
                      <a:pt x="12640" y="15318"/>
                      <a:pt x="17769" y="15318"/>
                    </a:cubicBezTo>
                    <a:close/>
                    <a:moveTo>
                      <a:pt x="17550" y="36439"/>
                    </a:moveTo>
                    <a:cubicBezTo>
                      <a:pt x="19293" y="36439"/>
                      <a:pt x="20918" y="36388"/>
                      <a:pt x="22426" y="36279"/>
                    </a:cubicBezTo>
                    <a:cubicBezTo>
                      <a:pt x="23925" y="36169"/>
                      <a:pt x="25390" y="36035"/>
                      <a:pt x="26805" y="35866"/>
                    </a:cubicBezTo>
                    <a:lnTo>
                      <a:pt x="27950" y="30216"/>
                    </a:lnTo>
                    <a:cubicBezTo>
                      <a:pt x="28118" y="29340"/>
                      <a:pt x="28194" y="28523"/>
                      <a:pt x="28194" y="27757"/>
                    </a:cubicBezTo>
                    <a:cubicBezTo>
                      <a:pt x="28194" y="25626"/>
                      <a:pt x="27419" y="24144"/>
                      <a:pt x="25862" y="23293"/>
                    </a:cubicBezTo>
                    <a:cubicBezTo>
                      <a:pt x="24304" y="22451"/>
                      <a:pt x="21861" y="22022"/>
                      <a:pt x="18535" y="22022"/>
                    </a:cubicBezTo>
                    <a:cubicBezTo>
                      <a:pt x="15209" y="22022"/>
                      <a:pt x="12910" y="22476"/>
                      <a:pt x="11327" y="23377"/>
                    </a:cubicBezTo>
                    <a:cubicBezTo>
                      <a:pt x="9743" y="24279"/>
                      <a:pt x="8733" y="25988"/>
                      <a:pt x="8295" y="28498"/>
                    </a:cubicBezTo>
                    <a:cubicBezTo>
                      <a:pt x="8126" y="29483"/>
                      <a:pt x="8051" y="30350"/>
                      <a:pt x="8051" y="31117"/>
                    </a:cubicBezTo>
                    <a:cubicBezTo>
                      <a:pt x="8051" y="33357"/>
                      <a:pt x="8825" y="34805"/>
                      <a:pt x="10383" y="35454"/>
                    </a:cubicBezTo>
                    <a:cubicBezTo>
                      <a:pt x="11941" y="36110"/>
                      <a:pt x="14333" y="36439"/>
                      <a:pt x="17550" y="36439"/>
                    </a:cubicBezTo>
                    <a:close/>
                  </a:path>
                </a:pathLst>
              </a:custGeom>
              <a:solidFill>
                <a:srgbClr val="3C3C46"/>
              </a:solidFill>
              <a:ln w="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ADC224F5-6008-A47F-5792-7F2C5BB982F2}"/>
                  </a:ext>
                </a:extLst>
              </p:cNvPr>
              <p:cNvSpPr/>
              <p:nvPr/>
            </p:nvSpPr>
            <p:spPr>
              <a:xfrm>
                <a:off x="8182750" y="1141747"/>
                <a:ext cx="32185" cy="42510"/>
              </a:xfrm>
              <a:custGeom>
                <a:avLst/>
                <a:gdLst>
                  <a:gd name="connsiteX0" fmla="*/ 25070 w 32185"/>
                  <a:gd name="connsiteY0" fmla="*/ 7124 h 42510"/>
                  <a:gd name="connsiteX1" fmla="*/ 20152 w 32185"/>
                  <a:gd name="connsiteY1" fmla="*/ 7537 h 42510"/>
                  <a:gd name="connsiteX2" fmla="*/ 16834 w 32185"/>
                  <a:gd name="connsiteY2" fmla="*/ 9137 h 42510"/>
                  <a:gd name="connsiteX3" fmla="*/ 14661 w 32185"/>
                  <a:gd name="connsiteY3" fmla="*/ 12371 h 42510"/>
                  <a:gd name="connsiteX4" fmla="*/ 13272 w 32185"/>
                  <a:gd name="connsiteY4" fmla="*/ 17609 h 42510"/>
                  <a:gd name="connsiteX5" fmla="*/ 8438 w 32185"/>
                  <a:gd name="connsiteY5" fmla="*/ 42511 h 42510"/>
                  <a:gd name="connsiteX6" fmla="*/ 0 w 32185"/>
                  <a:gd name="connsiteY6" fmla="*/ 42511 h 42510"/>
                  <a:gd name="connsiteX7" fmla="*/ 4910 w 32185"/>
                  <a:gd name="connsiteY7" fmla="*/ 16876 h 42510"/>
                  <a:gd name="connsiteX8" fmla="*/ 7655 w 32185"/>
                  <a:gd name="connsiteY8" fmla="*/ 8236 h 42510"/>
                  <a:gd name="connsiteX9" fmla="*/ 11958 w 32185"/>
                  <a:gd name="connsiteY9" fmla="*/ 3074 h 42510"/>
                  <a:gd name="connsiteX10" fmla="*/ 17937 w 32185"/>
                  <a:gd name="connsiteY10" fmla="*/ 615 h 42510"/>
                  <a:gd name="connsiteX11" fmla="*/ 25803 w 32185"/>
                  <a:gd name="connsiteY11" fmla="*/ 0 h 42510"/>
                  <a:gd name="connsiteX12" fmla="*/ 28994 w 32185"/>
                  <a:gd name="connsiteY12" fmla="*/ 42 h 42510"/>
                  <a:gd name="connsiteX13" fmla="*/ 32186 w 32185"/>
                  <a:gd name="connsiteY13" fmla="*/ 244 h 42510"/>
                  <a:gd name="connsiteX14" fmla="*/ 29483 w 32185"/>
                  <a:gd name="connsiteY14" fmla="*/ 7284 h 42510"/>
                  <a:gd name="connsiteX15" fmla="*/ 27108 w 32185"/>
                  <a:gd name="connsiteY15" fmla="*/ 7158 h 42510"/>
                  <a:gd name="connsiteX16" fmla="*/ 25062 w 32185"/>
                  <a:gd name="connsiteY16" fmla="*/ 7116 h 4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185" h="42510">
                    <a:moveTo>
                      <a:pt x="25070" y="7124"/>
                    </a:moveTo>
                    <a:cubicBezTo>
                      <a:pt x="23108" y="7124"/>
                      <a:pt x="21466" y="7259"/>
                      <a:pt x="20152" y="7537"/>
                    </a:cubicBezTo>
                    <a:cubicBezTo>
                      <a:pt x="18838" y="7815"/>
                      <a:pt x="17735" y="8345"/>
                      <a:pt x="16834" y="9137"/>
                    </a:cubicBezTo>
                    <a:cubicBezTo>
                      <a:pt x="15933" y="9929"/>
                      <a:pt x="15209" y="11007"/>
                      <a:pt x="14661" y="12371"/>
                    </a:cubicBezTo>
                    <a:cubicBezTo>
                      <a:pt x="14114" y="13735"/>
                      <a:pt x="13651" y="15478"/>
                      <a:pt x="13272" y="17609"/>
                    </a:cubicBezTo>
                    <a:lnTo>
                      <a:pt x="8438" y="42511"/>
                    </a:lnTo>
                    <a:lnTo>
                      <a:pt x="0" y="42511"/>
                    </a:lnTo>
                    <a:lnTo>
                      <a:pt x="4910" y="16876"/>
                    </a:lnTo>
                    <a:cubicBezTo>
                      <a:pt x="5566" y="13331"/>
                      <a:pt x="6476" y="10442"/>
                      <a:pt x="7655" y="8236"/>
                    </a:cubicBezTo>
                    <a:cubicBezTo>
                      <a:pt x="8825" y="6021"/>
                      <a:pt x="10265" y="4303"/>
                      <a:pt x="11958" y="3074"/>
                    </a:cubicBezTo>
                    <a:cubicBezTo>
                      <a:pt x="13651" y="1844"/>
                      <a:pt x="15638" y="1027"/>
                      <a:pt x="17937" y="615"/>
                    </a:cubicBezTo>
                    <a:cubicBezTo>
                      <a:pt x="20228" y="202"/>
                      <a:pt x="22847" y="0"/>
                      <a:pt x="25803" y="0"/>
                    </a:cubicBezTo>
                    <a:cubicBezTo>
                      <a:pt x="27057" y="0"/>
                      <a:pt x="28118" y="17"/>
                      <a:pt x="28994" y="42"/>
                    </a:cubicBezTo>
                    <a:cubicBezTo>
                      <a:pt x="29870" y="67"/>
                      <a:pt x="30931" y="135"/>
                      <a:pt x="32186" y="244"/>
                    </a:cubicBezTo>
                    <a:lnTo>
                      <a:pt x="29483" y="7284"/>
                    </a:lnTo>
                    <a:cubicBezTo>
                      <a:pt x="28607" y="7234"/>
                      <a:pt x="27815" y="7192"/>
                      <a:pt x="27108" y="7158"/>
                    </a:cubicBezTo>
                    <a:cubicBezTo>
                      <a:pt x="26400" y="7133"/>
                      <a:pt x="25710" y="7116"/>
                      <a:pt x="25062" y="7116"/>
                    </a:cubicBezTo>
                    <a:close/>
                  </a:path>
                </a:pathLst>
              </a:custGeom>
              <a:solidFill>
                <a:srgbClr val="3C3C46"/>
              </a:solidFill>
              <a:ln w="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FD4A4F37-6E67-23B3-06E3-C053F2906E96}"/>
                  </a:ext>
                </a:extLst>
              </p:cNvPr>
              <p:cNvSpPr/>
              <p:nvPr/>
            </p:nvSpPr>
            <p:spPr>
              <a:xfrm>
                <a:off x="8215677" y="1130362"/>
                <a:ext cx="28084" cy="53887"/>
              </a:xfrm>
              <a:custGeom>
                <a:avLst/>
                <a:gdLst>
                  <a:gd name="connsiteX0" fmla="*/ 20480 w 28084"/>
                  <a:gd name="connsiteY0" fmla="*/ 53888 h 53887"/>
                  <a:gd name="connsiteX1" fmla="*/ 12943 w 28084"/>
                  <a:gd name="connsiteY1" fmla="*/ 53888 h 53887"/>
                  <a:gd name="connsiteX2" fmla="*/ 3032 w 28084"/>
                  <a:gd name="connsiteY2" fmla="*/ 51024 h 53887"/>
                  <a:gd name="connsiteX3" fmla="*/ 0 w 28084"/>
                  <a:gd name="connsiteY3" fmla="*/ 42999 h 53887"/>
                  <a:gd name="connsiteX4" fmla="*/ 160 w 28084"/>
                  <a:gd name="connsiteY4" fmla="*/ 40582 h 53887"/>
                  <a:gd name="connsiteX5" fmla="*/ 573 w 28084"/>
                  <a:gd name="connsiteY5" fmla="*/ 37921 h 53887"/>
                  <a:gd name="connsiteX6" fmla="*/ 7781 w 28084"/>
                  <a:gd name="connsiteY6" fmla="*/ 901 h 53887"/>
                  <a:gd name="connsiteX7" fmla="*/ 16379 w 28084"/>
                  <a:gd name="connsiteY7" fmla="*/ 0 h 53887"/>
                  <a:gd name="connsiteX8" fmla="*/ 14164 w 28084"/>
                  <a:gd name="connsiteY8" fmla="*/ 11546 h 53887"/>
                  <a:gd name="connsiteX9" fmla="*/ 28085 w 28084"/>
                  <a:gd name="connsiteY9" fmla="*/ 11546 h 53887"/>
                  <a:gd name="connsiteX10" fmla="*/ 25382 w 28084"/>
                  <a:gd name="connsiteY10" fmla="*/ 18670 h 53887"/>
                  <a:gd name="connsiteX11" fmla="*/ 12767 w 28084"/>
                  <a:gd name="connsiteY11" fmla="*/ 18670 h 53887"/>
                  <a:gd name="connsiteX12" fmla="*/ 8834 w 28084"/>
                  <a:gd name="connsiteY12" fmla="*/ 38898 h 53887"/>
                  <a:gd name="connsiteX13" fmla="*/ 8421 w 28084"/>
                  <a:gd name="connsiteY13" fmla="*/ 42418 h 53887"/>
                  <a:gd name="connsiteX14" fmla="*/ 9693 w 28084"/>
                  <a:gd name="connsiteY14" fmla="*/ 45896 h 53887"/>
                  <a:gd name="connsiteX15" fmla="*/ 13996 w 28084"/>
                  <a:gd name="connsiteY15" fmla="*/ 46923 h 53887"/>
                  <a:gd name="connsiteX16" fmla="*/ 23091 w 28084"/>
                  <a:gd name="connsiteY16" fmla="*/ 46923 h 53887"/>
                  <a:gd name="connsiteX17" fmla="*/ 20472 w 28084"/>
                  <a:gd name="connsiteY17" fmla="*/ 53888 h 5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84" h="53887">
                    <a:moveTo>
                      <a:pt x="20480" y="53888"/>
                    </a:moveTo>
                    <a:lnTo>
                      <a:pt x="12943" y="53888"/>
                    </a:lnTo>
                    <a:cubicBezTo>
                      <a:pt x="8354" y="53888"/>
                      <a:pt x="5053" y="52936"/>
                      <a:pt x="3032" y="51024"/>
                    </a:cubicBezTo>
                    <a:cubicBezTo>
                      <a:pt x="1011" y="49113"/>
                      <a:pt x="0" y="46435"/>
                      <a:pt x="0" y="42999"/>
                    </a:cubicBezTo>
                    <a:cubicBezTo>
                      <a:pt x="0" y="42233"/>
                      <a:pt x="51" y="41433"/>
                      <a:pt x="160" y="40582"/>
                    </a:cubicBezTo>
                    <a:cubicBezTo>
                      <a:pt x="269" y="39740"/>
                      <a:pt x="404" y="38847"/>
                      <a:pt x="573" y="37921"/>
                    </a:cubicBezTo>
                    <a:lnTo>
                      <a:pt x="7781" y="901"/>
                    </a:lnTo>
                    <a:lnTo>
                      <a:pt x="16379" y="0"/>
                    </a:lnTo>
                    <a:lnTo>
                      <a:pt x="14164" y="11546"/>
                    </a:lnTo>
                    <a:lnTo>
                      <a:pt x="28085" y="11546"/>
                    </a:lnTo>
                    <a:lnTo>
                      <a:pt x="25382" y="18670"/>
                    </a:lnTo>
                    <a:lnTo>
                      <a:pt x="12767" y="18670"/>
                    </a:lnTo>
                    <a:lnTo>
                      <a:pt x="8834" y="38898"/>
                    </a:lnTo>
                    <a:cubicBezTo>
                      <a:pt x="8556" y="40431"/>
                      <a:pt x="8421" y="41601"/>
                      <a:pt x="8421" y="42418"/>
                    </a:cubicBezTo>
                    <a:cubicBezTo>
                      <a:pt x="8421" y="44052"/>
                      <a:pt x="8842" y="45214"/>
                      <a:pt x="9693" y="45896"/>
                    </a:cubicBezTo>
                    <a:cubicBezTo>
                      <a:pt x="10535" y="46578"/>
                      <a:pt x="11975" y="46923"/>
                      <a:pt x="13996" y="46923"/>
                    </a:cubicBezTo>
                    <a:lnTo>
                      <a:pt x="23091" y="46923"/>
                    </a:lnTo>
                    <a:lnTo>
                      <a:pt x="20472" y="53888"/>
                    </a:lnTo>
                    <a:close/>
                  </a:path>
                </a:pathLst>
              </a:custGeom>
              <a:solidFill>
                <a:srgbClr val="3C3C46"/>
              </a:solidFill>
              <a:ln w="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82D6333-85D1-C934-1F2F-19C9DAFA1132}"/>
                  </a:ext>
                </a:extLst>
              </p:cNvPr>
              <p:cNvSpPr/>
              <p:nvPr/>
            </p:nvSpPr>
            <p:spPr>
              <a:xfrm>
                <a:off x="8266221" y="1140602"/>
                <a:ext cx="40539" cy="44961"/>
              </a:xfrm>
              <a:custGeom>
                <a:avLst/>
                <a:gdLst>
                  <a:gd name="connsiteX0" fmla="*/ 23419 w 40539"/>
                  <a:gd name="connsiteY0" fmla="*/ 0 h 44961"/>
                  <a:gd name="connsiteX1" fmla="*/ 36076 w 40539"/>
                  <a:gd name="connsiteY1" fmla="*/ 3478 h 44961"/>
                  <a:gd name="connsiteX2" fmla="*/ 40540 w 40539"/>
                  <a:gd name="connsiteY2" fmla="*/ 15478 h 44961"/>
                  <a:gd name="connsiteX3" fmla="*/ 40295 w 40539"/>
                  <a:gd name="connsiteY3" fmla="*/ 19411 h 44961"/>
                  <a:gd name="connsiteX4" fmla="*/ 39639 w 40539"/>
                  <a:gd name="connsiteY4" fmla="*/ 23832 h 44961"/>
                  <a:gd name="connsiteX5" fmla="*/ 36809 w 40539"/>
                  <a:gd name="connsiteY5" fmla="*/ 33374 h 44961"/>
                  <a:gd name="connsiteX6" fmla="*/ 32346 w 40539"/>
                  <a:gd name="connsiteY6" fmla="*/ 39925 h 44961"/>
                  <a:gd name="connsiteX7" fmla="*/ 25878 w 40539"/>
                  <a:gd name="connsiteY7" fmla="*/ 43732 h 44961"/>
                  <a:gd name="connsiteX8" fmla="*/ 17120 w 40539"/>
                  <a:gd name="connsiteY8" fmla="*/ 44961 h 44961"/>
                  <a:gd name="connsiteX9" fmla="*/ 4463 w 40539"/>
                  <a:gd name="connsiteY9" fmla="*/ 41483 h 44961"/>
                  <a:gd name="connsiteX10" fmla="*/ 0 w 40539"/>
                  <a:gd name="connsiteY10" fmla="*/ 29483 h 44961"/>
                  <a:gd name="connsiteX11" fmla="*/ 244 w 40539"/>
                  <a:gd name="connsiteY11" fmla="*/ 25550 h 44961"/>
                  <a:gd name="connsiteX12" fmla="*/ 901 w 40539"/>
                  <a:gd name="connsiteY12" fmla="*/ 21129 h 44961"/>
                  <a:gd name="connsiteX13" fmla="*/ 3731 w 40539"/>
                  <a:gd name="connsiteY13" fmla="*/ 11588 h 44961"/>
                  <a:gd name="connsiteX14" fmla="*/ 8194 w 40539"/>
                  <a:gd name="connsiteY14" fmla="*/ 5036 h 44961"/>
                  <a:gd name="connsiteX15" fmla="*/ 14619 w 40539"/>
                  <a:gd name="connsiteY15" fmla="*/ 1230 h 44961"/>
                  <a:gd name="connsiteX16" fmla="*/ 23419 w 40539"/>
                  <a:gd name="connsiteY16" fmla="*/ 0 h 44961"/>
                  <a:gd name="connsiteX17" fmla="*/ 22518 w 40539"/>
                  <a:gd name="connsiteY17" fmla="*/ 7040 h 44961"/>
                  <a:gd name="connsiteX18" fmla="*/ 17272 w 40539"/>
                  <a:gd name="connsiteY18" fmla="*/ 7739 h 44961"/>
                  <a:gd name="connsiteX19" fmla="*/ 13668 w 40539"/>
                  <a:gd name="connsiteY19" fmla="*/ 10030 h 44961"/>
                  <a:gd name="connsiteX20" fmla="*/ 11251 w 40539"/>
                  <a:gd name="connsiteY20" fmla="*/ 14249 h 44961"/>
                  <a:gd name="connsiteX21" fmla="*/ 9491 w 40539"/>
                  <a:gd name="connsiteY21" fmla="*/ 20801 h 44961"/>
                  <a:gd name="connsiteX22" fmla="*/ 8716 w 40539"/>
                  <a:gd name="connsiteY22" fmla="*/ 25508 h 44961"/>
                  <a:gd name="connsiteX23" fmla="*/ 8430 w 40539"/>
                  <a:gd name="connsiteY23" fmla="*/ 29230 h 44961"/>
                  <a:gd name="connsiteX24" fmla="*/ 10762 w 40539"/>
                  <a:gd name="connsiteY24" fmla="*/ 36068 h 44961"/>
                  <a:gd name="connsiteX25" fmla="*/ 18013 w 40539"/>
                  <a:gd name="connsiteY25" fmla="*/ 37913 h 44961"/>
                  <a:gd name="connsiteX26" fmla="*/ 23259 w 40539"/>
                  <a:gd name="connsiteY26" fmla="*/ 37214 h 44961"/>
                  <a:gd name="connsiteX27" fmla="*/ 26864 w 40539"/>
                  <a:gd name="connsiteY27" fmla="*/ 34923 h 44961"/>
                  <a:gd name="connsiteX28" fmla="*/ 29281 w 40539"/>
                  <a:gd name="connsiteY28" fmla="*/ 30704 h 44961"/>
                  <a:gd name="connsiteX29" fmla="*/ 31041 w 40539"/>
                  <a:gd name="connsiteY29" fmla="*/ 24152 h 44961"/>
                  <a:gd name="connsiteX30" fmla="*/ 31815 w 40539"/>
                  <a:gd name="connsiteY30" fmla="*/ 19445 h 44961"/>
                  <a:gd name="connsiteX31" fmla="*/ 32102 w 40539"/>
                  <a:gd name="connsiteY31" fmla="*/ 15723 h 44961"/>
                  <a:gd name="connsiteX32" fmla="*/ 29769 w 40539"/>
                  <a:gd name="connsiteY32" fmla="*/ 8884 h 44961"/>
                  <a:gd name="connsiteX33" fmla="*/ 22518 w 40539"/>
                  <a:gd name="connsiteY33" fmla="*/ 7040 h 44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0539" h="44961">
                    <a:moveTo>
                      <a:pt x="23419" y="0"/>
                    </a:moveTo>
                    <a:cubicBezTo>
                      <a:pt x="28876" y="0"/>
                      <a:pt x="33095" y="1162"/>
                      <a:pt x="36076" y="3478"/>
                    </a:cubicBezTo>
                    <a:cubicBezTo>
                      <a:pt x="39049" y="5802"/>
                      <a:pt x="40540" y="9794"/>
                      <a:pt x="40540" y="15478"/>
                    </a:cubicBezTo>
                    <a:cubicBezTo>
                      <a:pt x="40540" y="16733"/>
                      <a:pt x="40456" y="18047"/>
                      <a:pt x="40295" y="19411"/>
                    </a:cubicBezTo>
                    <a:cubicBezTo>
                      <a:pt x="40127" y="20775"/>
                      <a:pt x="39908" y="22249"/>
                      <a:pt x="39639" y="23832"/>
                    </a:cubicBezTo>
                    <a:cubicBezTo>
                      <a:pt x="38931" y="27546"/>
                      <a:pt x="37988" y="30729"/>
                      <a:pt x="36809" y="33374"/>
                    </a:cubicBezTo>
                    <a:cubicBezTo>
                      <a:pt x="35639" y="36026"/>
                      <a:pt x="34148" y="38207"/>
                      <a:pt x="32346" y="39925"/>
                    </a:cubicBezTo>
                    <a:cubicBezTo>
                      <a:pt x="30544" y="41643"/>
                      <a:pt x="28388" y="42915"/>
                      <a:pt x="25878" y="43732"/>
                    </a:cubicBezTo>
                    <a:cubicBezTo>
                      <a:pt x="23369" y="44549"/>
                      <a:pt x="20447" y="44961"/>
                      <a:pt x="17120" y="44961"/>
                    </a:cubicBezTo>
                    <a:cubicBezTo>
                      <a:pt x="11655" y="44961"/>
                      <a:pt x="7444" y="43799"/>
                      <a:pt x="4463" y="41483"/>
                    </a:cubicBezTo>
                    <a:cubicBezTo>
                      <a:pt x="1491" y="39159"/>
                      <a:pt x="0" y="35167"/>
                      <a:pt x="0" y="29483"/>
                    </a:cubicBezTo>
                    <a:cubicBezTo>
                      <a:pt x="0" y="28228"/>
                      <a:pt x="84" y="26914"/>
                      <a:pt x="244" y="25550"/>
                    </a:cubicBezTo>
                    <a:cubicBezTo>
                      <a:pt x="413" y="24186"/>
                      <a:pt x="623" y="22712"/>
                      <a:pt x="901" y="21129"/>
                    </a:cubicBezTo>
                    <a:cubicBezTo>
                      <a:pt x="1608" y="17415"/>
                      <a:pt x="2552" y="14240"/>
                      <a:pt x="3731" y="11588"/>
                    </a:cubicBezTo>
                    <a:cubicBezTo>
                      <a:pt x="4901" y="8943"/>
                      <a:pt x="6392" y="6754"/>
                      <a:pt x="8194" y="5036"/>
                    </a:cubicBezTo>
                    <a:cubicBezTo>
                      <a:pt x="9996" y="3318"/>
                      <a:pt x="12135" y="2046"/>
                      <a:pt x="14619" y="1230"/>
                    </a:cubicBezTo>
                    <a:cubicBezTo>
                      <a:pt x="17103" y="413"/>
                      <a:pt x="20042" y="0"/>
                      <a:pt x="23419" y="0"/>
                    </a:cubicBezTo>
                    <a:close/>
                    <a:moveTo>
                      <a:pt x="22518" y="7040"/>
                    </a:moveTo>
                    <a:cubicBezTo>
                      <a:pt x="20447" y="7040"/>
                      <a:pt x="18695" y="7276"/>
                      <a:pt x="17272" y="7739"/>
                    </a:cubicBezTo>
                    <a:cubicBezTo>
                      <a:pt x="15849" y="8202"/>
                      <a:pt x="14653" y="8969"/>
                      <a:pt x="13668" y="10030"/>
                    </a:cubicBezTo>
                    <a:cubicBezTo>
                      <a:pt x="12682" y="11091"/>
                      <a:pt x="11874" y="12497"/>
                      <a:pt x="11251" y="14249"/>
                    </a:cubicBezTo>
                    <a:cubicBezTo>
                      <a:pt x="10619" y="16000"/>
                      <a:pt x="10038" y="18182"/>
                      <a:pt x="9491" y="20801"/>
                    </a:cubicBezTo>
                    <a:cubicBezTo>
                      <a:pt x="9162" y="22552"/>
                      <a:pt x="8901" y="24119"/>
                      <a:pt x="8716" y="25508"/>
                    </a:cubicBezTo>
                    <a:cubicBezTo>
                      <a:pt x="8522" y="26898"/>
                      <a:pt x="8430" y="28144"/>
                      <a:pt x="8430" y="29230"/>
                    </a:cubicBezTo>
                    <a:cubicBezTo>
                      <a:pt x="8430" y="32565"/>
                      <a:pt x="9204" y="34839"/>
                      <a:pt x="10762" y="36068"/>
                    </a:cubicBezTo>
                    <a:cubicBezTo>
                      <a:pt x="12320" y="37298"/>
                      <a:pt x="14737" y="37913"/>
                      <a:pt x="18013" y="37913"/>
                    </a:cubicBezTo>
                    <a:cubicBezTo>
                      <a:pt x="20085" y="37913"/>
                      <a:pt x="21836" y="37677"/>
                      <a:pt x="23259" y="37214"/>
                    </a:cubicBezTo>
                    <a:cubicBezTo>
                      <a:pt x="24683" y="36750"/>
                      <a:pt x="25878" y="35984"/>
                      <a:pt x="26864" y="34923"/>
                    </a:cubicBezTo>
                    <a:cubicBezTo>
                      <a:pt x="27849" y="33862"/>
                      <a:pt x="28649" y="32456"/>
                      <a:pt x="29281" y="30704"/>
                    </a:cubicBezTo>
                    <a:cubicBezTo>
                      <a:pt x="29904" y="28961"/>
                      <a:pt x="30493" y="26771"/>
                      <a:pt x="31041" y="24152"/>
                    </a:cubicBezTo>
                    <a:cubicBezTo>
                      <a:pt x="31369" y="22409"/>
                      <a:pt x="31630" y="20834"/>
                      <a:pt x="31815" y="19445"/>
                    </a:cubicBezTo>
                    <a:cubicBezTo>
                      <a:pt x="32009" y="18055"/>
                      <a:pt x="32102" y="16809"/>
                      <a:pt x="32102" y="15723"/>
                    </a:cubicBezTo>
                    <a:cubicBezTo>
                      <a:pt x="32102" y="12396"/>
                      <a:pt x="31327" y="10114"/>
                      <a:pt x="29769" y="8884"/>
                    </a:cubicBezTo>
                    <a:cubicBezTo>
                      <a:pt x="28211" y="7655"/>
                      <a:pt x="25794" y="7040"/>
                      <a:pt x="22518" y="7040"/>
                    </a:cubicBezTo>
                    <a:close/>
                  </a:path>
                </a:pathLst>
              </a:custGeom>
              <a:solidFill>
                <a:srgbClr val="3C3C46"/>
              </a:solidFill>
              <a:ln w="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DF3DC0-899C-9239-A490-6D7A213ABCCC}"/>
                  </a:ext>
                </a:extLst>
              </p:cNvPr>
              <p:cNvSpPr/>
              <p:nvPr/>
            </p:nvSpPr>
            <p:spPr>
              <a:xfrm>
                <a:off x="8310525" y="1123238"/>
                <a:ext cx="37179" cy="61012"/>
              </a:xfrm>
              <a:custGeom>
                <a:avLst/>
                <a:gdLst>
                  <a:gd name="connsiteX0" fmla="*/ 16708 w 37179"/>
                  <a:gd name="connsiteY0" fmla="*/ 18670 h 61012"/>
                  <a:gd name="connsiteX1" fmla="*/ 31782 w 37179"/>
                  <a:gd name="connsiteY1" fmla="*/ 18670 h 61012"/>
                  <a:gd name="connsiteX2" fmla="*/ 29078 w 37179"/>
                  <a:gd name="connsiteY2" fmla="*/ 25794 h 61012"/>
                  <a:gd name="connsiteX3" fmla="*/ 15318 w 37179"/>
                  <a:gd name="connsiteY3" fmla="*/ 25794 h 61012"/>
                  <a:gd name="connsiteX4" fmla="*/ 8438 w 37179"/>
                  <a:gd name="connsiteY4" fmla="*/ 61012 h 61012"/>
                  <a:gd name="connsiteX5" fmla="*/ 0 w 37179"/>
                  <a:gd name="connsiteY5" fmla="*/ 61012 h 61012"/>
                  <a:gd name="connsiteX6" fmla="*/ 8682 w 37179"/>
                  <a:gd name="connsiteY6" fmla="*/ 16295 h 61012"/>
                  <a:gd name="connsiteX7" fmla="*/ 11057 w 37179"/>
                  <a:gd name="connsiteY7" fmla="*/ 8884 h 61012"/>
                  <a:gd name="connsiteX8" fmla="*/ 15192 w 37179"/>
                  <a:gd name="connsiteY8" fmla="*/ 3849 h 61012"/>
                  <a:gd name="connsiteX9" fmla="*/ 21499 w 37179"/>
                  <a:gd name="connsiteY9" fmla="*/ 943 h 61012"/>
                  <a:gd name="connsiteX10" fmla="*/ 30384 w 37179"/>
                  <a:gd name="connsiteY10" fmla="*/ 0 h 61012"/>
                  <a:gd name="connsiteX11" fmla="*/ 34190 w 37179"/>
                  <a:gd name="connsiteY11" fmla="*/ 42 h 61012"/>
                  <a:gd name="connsiteX12" fmla="*/ 37180 w 37179"/>
                  <a:gd name="connsiteY12" fmla="*/ 168 h 61012"/>
                  <a:gd name="connsiteX13" fmla="*/ 34721 w 37179"/>
                  <a:gd name="connsiteY13" fmla="*/ 7293 h 61012"/>
                  <a:gd name="connsiteX14" fmla="*/ 32102 w 37179"/>
                  <a:gd name="connsiteY14" fmla="*/ 7167 h 61012"/>
                  <a:gd name="connsiteX15" fmla="*/ 29483 w 37179"/>
                  <a:gd name="connsiteY15" fmla="*/ 7124 h 61012"/>
                  <a:gd name="connsiteX16" fmla="*/ 24160 w 37179"/>
                  <a:gd name="connsiteY16" fmla="*/ 7537 h 61012"/>
                  <a:gd name="connsiteX17" fmla="*/ 20640 w 37179"/>
                  <a:gd name="connsiteY17" fmla="*/ 9053 h 61012"/>
                  <a:gd name="connsiteX18" fmla="*/ 18392 w 37179"/>
                  <a:gd name="connsiteY18" fmla="*/ 12160 h 61012"/>
                  <a:gd name="connsiteX19" fmla="*/ 16960 w 37179"/>
                  <a:gd name="connsiteY19" fmla="*/ 17365 h 61012"/>
                  <a:gd name="connsiteX20" fmla="*/ 16716 w 37179"/>
                  <a:gd name="connsiteY20" fmla="*/ 18678 h 6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179" h="61012">
                    <a:moveTo>
                      <a:pt x="16708" y="18670"/>
                    </a:moveTo>
                    <a:lnTo>
                      <a:pt x="31782" y="18670"/>
                    </a:lnTo>
                    <a:lnTo>
                      <a:pt x="29078" y="25794"/>
                    </a:lnTo>
                    <a:lnTo>
                      <a:pt x="15318" y="25794"/>
                    </a:lnTo>
                    <a:lnTo>
                      <a:pt x="8438" y="61012"/>
                    </a:lnTo>
                    <a:lnTo>
                      <a:pt x="0" y="61012"/>
                    </a:lnTo>
                    <a:lnTo>
                      <a:pt x="8682" y="16295"/>
                    </a:lnTo>
                    <a:cubicBezTo>
                      <a:pt x="9230" y="13398"/>
                      <a:pt x="10021" y="10931"/>
                      <a:pt x="11057" y="8884"/>
                    </a:cubicBezTo>
                    <a:cubicBezTo>
                      <a:pt x="12093" y="6838"/>
                      <a:pt x="13474" y="5162"/>
                      <a:pt x="15192" y="3849"/>
                    </a:cubicBezTo>
                    <a:cubicBezTo>
                      <a:pt x="16910" y="2535"/>
                      <a:pt x="19015" y="1566"/>
                      <a:pt x="21499" y="943"/>
                    </a:cubicBezTo>
                    <a:cubicBezTo>
                      <a:pt x="23984" y="320"/>
                      <a:pt x="26948" y="0"/>
                      <a:pt x="30384" y="0"/>
                    </a:cubicBezTo>
                    <a:cubicBezTo>
                      <a:pt x="31638" y="0"/>
                      <a:pt x="32910" y="17"/>
                      <a:pt x="34190" y="42"/>
                    </a:cubicBezTo>
                    <a:cubicBezTo>
                      <a:pt x="35470" y="67"/>
                      <a:pt x="36472" y="109"/>
                      <a:pt x="37180" y="168"/>
                    </a:cubicBezTo>
                    <a:lnTo>
                      <a:pt x="34721" y="7293"/>
                    </a:lnTo>
                    <a:cubicBezTo>
                      <a:pt x="33954" y="7242"/>
                      <a:pt x="33079" y="7200"/>
                      <a:pt x="32102" y="7167"/>
                    </a:cubicBezTo>
                    <a:cubicBezTo>
                      <a:pt x="31116" y="7141"/>
                      <a:pt x="30241" y="7124"/>
                      <a:pt x="29483" y="7124"/>
                    </a:cubicBezTo>
                    <a:cubicBezTo>
                      <a:pt x="27352" y="7124"/>
                      <a:pt x="25575" y="7259"/>
                      <a:pt x="24160" y="7537"/>
                    </a:cubicBezTo>
                    <a:cubicBezTo>
                      <a:pt x="22737" y="7807"/>
                      <a:pt x="21567" y="8312"/>
                      <a:pt x="20640" y="9053"/>
                    </a:cubicBezTo>
                    <a:cubicBezTo>
                      <a:pt x="19714" y="9794"/>
                      <a:pt x="18965" y="10830"/>
                      <a:pt x="18392" y="12160"/>
                    </a:cubicBezTo>
                    <a:cubicBezTo>
                      <a:pt x="17819" y="13499"/>
                      <a:pt x="17339" y="15234"/>
                      <a:pt x="16960" y="17365"/>
                    </a:cubicBezTo>
                    <a:lnTo>
                      <a:pt x="16716" y="18678"/>
                    </a:lnTo>
                    <a:close/>
                  </a:path>
                </a:pathLst>
              </a:custGeom>
              <a:solidFill>
                <a:srgbClr val="3C3C46"/>
              </a:solidFill>
              <a:ln w="0"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49650147"/>
      </p:ext>
    </p:extLst>
  </p:cSld>
  <p:clrMapOvr>
    <a:masterClrMapping/>
  </p:clrMapOvr>
  <p:transition spd="slow">
    <p:push/>
  </p:transition>
  <p:extLst>
    <p:ext uri="{DCECCB84-F9BA-43D5-87BE-67443E8EF086}">
      <p15:sldGuideLst xmlns:p15="http://schemas.microsoft.com/office/powerpoint/2012/main">
        <p15:guide id="1" orient="horz" pos="826">
          <p15:clr>
            <a:srgbClr val="FBAE40"/>
          </p15:clr>
        </p15:guide>
        <p15:guide id="2" pos="288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ndardfolie mit 4 Textfeldern">
    <p:spTree>
      <p:nvGrpSpPr>
        <p:cNvPr id="1" name=""/>
        <p:cNvGrpSpPr/>
        <p:nvPr/>
      </p:nvGrpSpPr>
      <p:grpSpPr>
        <a:xfrm>
          <a:off x="0" y="0"/>
          <a:ext cx="0" cy="0"/>
          <a:chOff x="0" y="0"/>
          <a:chExt cx="0" cy="0"/>
        </a:xfrm>
      </p:grpSpPr>
      <p:sp>
        <p:nvSpPr>
          <p:cNvPr id="11" name="Textfeld 10">
            <a:extLst>
              <a:ext uri="{FF2B5EF4-FFF2-40B4-BE49-F238E27FC236}">
                <a16:creationId xmlns:a16="http://schemas.microsoft.com/office/drawing/2014/main" id="{33B84240-964B-4F15-BB57-A7EFA5676551}"/>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17" name="Textfeld 16">
            <a:extLst>
              <a:ext uri="{FF2B5EF4-FFF2-40B4-BE49-F238E27FC236}">
                <a16:creationId xmlns:a16="http://schemas.microsoft.com/office/drawing/2014/main" id="{D4DD0C35-6D28-482A-9E48-E239BB53A5D7}"/>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33" name="Textplatzhalter 6">
            <a:extLst>
              <a:ext uri="{FF2B5EF4-FFF2-40B4-BE49-F238E27FC236}">
                <a16:creationId xmlns:a16="http://schemas.microsoft.com/office/drawing/2014/main" id="{30AF8504-5A60-4136-AAFF-A22D5227A79C}"/>
              </a:ext>
            </a:extLst>
          </p:cNvPr>
          <p:cNvSpPr>
            <a:spLocks noGrp="1"/>
          </p:cNvSpPr>
          <p:nvPr>
            <p:ph type="body" sz="quarter" idx="13"/>
          </p:nvPr>
        </p:nvSpPr>
        <p:spPr>
          <a:xfrm>
            <a:off x="358358" y="342258"/>
            <a:ext cx="6721230" cy="531499"/>
          </a:xfrm>
          <a:prstGeom prst="rect">
            <a:avLst/>
          </a:prstGeom>
        </p:spPr>
        <p:txBody>
          <a:bodyPr lIns="0" tIns="0" rIns="0" bIns="0" anchor="t"/>
          <a:lstStyle>
            <a:lvl1pPr marL="0" indent="0">
              <a:spcBef>
                <a:spcPts val="0"/>
              </a:spcBef>
              <a:spcAft>
                <a:spcPts val="0"/>
              </a:spcAft>
              <a:buFontTx/>
              <a:buNone/>
              <a:defRPr sz="20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lnSpc>
                <a:spcPct val="125000"/>
              </a:lnSpc>
              <a:spcBef>
                <a:spcPts val="0"/>
              </a:spcBef>
              <a:buFontTx/>
              <a:buNone/>
              <a:defRPr sz="1300">
                <a:solidFill>
                  <a:schemeClr val="bg2"/>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Mastertextformat bearbeiten</a:t>
            </a:r>
          </a:p>
          <a:p>
            <a:pPr lvl="1"/>
            <a:r>
              <a:rPr lang="de-DE" dirty="0"/>
              <a:t>Zweite Ebene</a:t>
            </a:r>
          </a:p>
        </p:txBody>
      </p:sp>
      <p:sp>
        <p:nvSpPr>
          <p:cNvPr id="34" name="Gleichschenkliges Dreieck 33">
            <a:extLst>
              <a:ext uri="{FF2B5EF4-FFF2-40B4-BE49-F238E27FC236}">
                <a16:creationId xmlns:a16="http://schemas.microsoft.com/office/drawing/2014/main" id="{1C1A7142-CADC-4128-B1DF-DDC9BE02F98D}"/>
              </a:ext>
            </a:extLst>
          </p:cNvPr>
          <p:cNvSpPr/>
          <p:nvPr userDrawn="1"/>
        </p:nvSpPr>
        <p:spPr>
          <a:xfrm rot="5400000">
            <a:off x="-43607" y="416079"/>
            <a:ext cx="236438" cy="149225"/>
          </a:xfrm>
          <a:prstGeom prst="triangle">
            <a:avLst/>
          </a:prstGeom>
          <a:solidFill>
            <a:srgbClr val="C00C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1" name="Textplatzhalter 16">
            <a:extLst>
              <a:ext uri="{FF2B5EF4-FFF2-40B4-BE49-F238E27FC236}">
                <a16:creationId xmlns:a16="http://schemas.microsoft.com/office/drawing/2014/main" id="{DE51EF1A-A2F9-6142-9766-26A7C724CEE4}"/>
              </a:ext>
            </a:extLst>
          </p:cNvPr>
          <p:cNvSpPr>
            <a:spLocks noGrp="1"/>
          </p:cNvSpPr>
          <p:nvPr>
            <p:ph type="body" sz="quarter" idx="18"/>
          </p:nvPr>
        </p:nvSpPr>
        <p:spPr>
          <a:xfrm>
            <a:off x="359999" y="1328826"/>
            <a:ext cx="1970182" cy="3454913"/>
          </a:xfrm>
          <a:prstGeom prst="rect">
            <a:avLst/>
          </a:prstGeom>
          <a:noFill/>
          <a:effectLst/>
        </p:spPr>
        <p:txBody>
          <a:bodyPr lIns="0" tIns="0" rIns="0" bIns="0"/>
          <a:lstStyle>
            <a:lvl1pPr>
              <a:spcBef>
                <a:spcPts val="0"/>
              </a:spcBef>
              <a:spcAft>
                <a:spcPts val="600"/>
              </a:spcAft>
              <a:defRPr sz="1200">
                <a:solidFill>
                  <a:srgbClr val="C00C0F"/>
                </a:solidFill>
              </a:defRPr>
            </a:lvl1pPr>
            <a:lvl2pPr marL="0" indent="0">
              <a:spcBef>
                <a:spcPts val="0"/>
              </a:spcBef>
              <a:buNone/>
              <a:defRPr sz="1200">
                <a:solidFill>
                  <a:schemeClr val="tx1"/>
                </a:solidFill>
              </a:defRPr>
            </a:lvl2pPr>
            <a:lvl3pPr marL="108000" indent="-108000">
              <a:spcBef>
                <a:spcPts val="100"/>
              </a:spcBef>
              <a:spcAft>
                <a:spcPts val="0"/>
              </a:spcAft>
              <a:buClr>
                <a:srgbClr val="C00C0F"/>
              </a:buClr>
              <a:buSzPct val="100000"/>
              <a:buFont typeface="Wingdings" pitchFamily="2" charset="2"/>
              <a:buChar char="§"/>
              <a:defRPr lang="de-DE" sz="1200" b="0" kern="1200" dirty="0" smtClean="0">
                <a:solidFill>
                  <a:schemeClr val="tx1"/>
                </a:solidFill>
                <a:latin typeface="Open Sans" panose="020B0606030504020204" pitchFamily="34" charset="0"/>
                <a:ea typeface="+mn-ea"/>
                <a:cs typeface="+mn-cs"/>
              </a:defRPr>
            </a:lvl3pPr>
          </a:lstStyle>
          <a:p>
            <a:pPr lvl="0"/>
            <a:r>
              <a:rPr lang="de-DE" dirty="0"/>
              <a:t>Mastertextformat bearbeiten</a:t>
            </a:r>
          </a:p>
          <a:p>
            <a:pPr lvl="1"/>
            <a:r>
              <a:rPr lang="de-DE" dirty="0"/>
              <a:t>Zweite Ebene</a:t>
            </a:r>
          </a:p>
          <a:p>
            <a:pPr lvl="2"/>
            <a:r>
              <a:rPr lang="de-DE" dirty="0"/>
              <a:t>Dritte Ebene</a:t>
            </a:r>
          </a:p>
        </p:txBody>
      </p:sp>
      <p:sp>
        <p:nvSpPr>
          <p:cNvPr id="22" name="Textplatzhalter 16">
            <a:extLst>
              <a:ext uri="{FF2B5EF4-FFF2-40B4-BE49-F238E27FC236}">
                <a16:creationId xmlns:a16="http://schemas.microsoft.com/office/drawing/2014/main" id="{19D0AE34-745C-8644-96D5-2E2164DBB064}"/>
              </a:ext>
            </a:extLst>
          </p:cNvPr>
          <p:cNvSpPr>
            <a:spLocks noGrp="1"/>
          </p:cNvSpPr>
          <p:nvPr>
            <p:ph type="body" sz="quarter" idx="19"/>
          </p:nvPr>
        </p:nvSpPr>
        <p:spPr>
          <a:xfrm>
            <a:off x="6810544" y="1328826"/>
            <a:ext cx="1970182" cy="3454913"/>
          </a:xfrm>
          <a:prstGeom prst="rect">
            <a:avLst/>
          </a:prstGeom>
          <a:noFill/>
          <a:effectLst/>
        </p:spPr>
        <p:txBody>
          <a:bodyPr lIns="0" tIns="0" rIns="0" bIns="0"/>
          <a:lstStyle>
            <a:lvl1pPr>
              <a:spcBef>
                <a:spcPts val="0"/>
              </a:spcBef>
              <a:spcAft>
                <a:spcPts val="600"/>
              </a:spcAft>
              <a:defRPr sz="1200">
                <a:solidFill>
                  <a:srgbClr val="C00C0F"/>
                </a:solidFill>
                <a:latin typeface="Verdana" panose="020B0604030504040204" pitchFamily="34" charset="0"/>
                <a:ea typeface="Verdana" panose="020B0604030504040204" pitchFamily="34" charset="0"/>
              </a:defRPr>
            </a:lvl1pPr>
            <a:lvl2pPr marL="0" indent="0">
              <a:spcBef>
                <a:spcPts val="0"/>
              </a:spcBef>
              <a:buNone/>
              <a:defRPr sz="1200">
                <a:solidFill>
                  <a:schemeClr val="tx1"/>
                </a:solidFill>
                <a:latin typeface="Verdana" panose="020B0604030504040204" pitchFamily="34" charset="0"/>
                <a:ea typeface="Verdana" panose="020B0604030504040204" pitchFamily="34" charset="0"/>
              </a:defRPr>
            </a:lvl2pPr>
            <a:lvl3pPr marL="108000" indent="-108000">
              <a:spcBef>
                <a:spcPts val="100"/>
              </a:spcBef>
              <a:spcAft>
                <a:spcPts val="0"/>
              </a:spcAft>
              <a:buClr>
                <a:srgbClr val="C00C0F"/>
              </a:buClr>
              <a:buSzPct val="100000"/>
              <a:buFont typeface="Wingdings" pitchFamily="2" charset="2"/>
              <a:buChar char="§"/>
              <a:defRPr lang="de-DE" sz="1200" b="0" kern="1200" dirty="0" smtClean="0">
                <a:solidFill>
                  <a:schemeClr val="tx1"/>
                </a:solidFill>
                <a:latin typeface="Verdana" panose="020B0604030504040204" pitchFamily="34" charset="0"/>
                <a:ea typeface="Verdana" panose="020B0604030504040204" pitchFamily="34" charset="0"/>
                <a:cs typeface="+mn-cs"/>
              </a:defRPr>
            </a:lvl3pPr>
          </a:lstStyle>
          <a:p>
            <a:pPr lvl="0"/>
            <a:r>
              <a:rPr lang="de-DE" dirty="0"/>
              <a:t>Mastertextformat bearbeiten</a:t>
            </a:r>
          </a:p>
          <a:p>
            <a:pPr lvl="1"/>
            <a:r>
              <a:rPr lang="de-DE" dirty="0"/>
              <a:t>Zweite Ebene</a:t>
            </a:r>
          </a:p>
          <a:p>
            <a:pPr lvl="2"/>
            <a:r>
              <a:rPr lang="de-DE" dirty="0"/>
              <a:t>Dritte Ebene</a:t>
            </a:r>
          </a:p>
        </p:txBody>
      </p:sp>
      <p:sp>
        <p:nvSpPr>
          <p:cNvPr id="19" name="Textplatzhalter 16">
            <a:extLst>
              <a:ext uri="{FF2B5EF4-FFF2-40B4-BE49-F238E27FC236}">
                <a16:creationId xmlns:a16="http://schemas.microsoft.com/office/drawing/2014/main" id="{8E890890-E725-42FB-AB6F-2025648BB295}"/>
              </a:ext>
            </a:extLst>
          </p:cNvPr>
          <p:cNvSpPr>
            <a:spLocks noGrp="1"/>
          </p:cNvSpPr>
          <p:nvPr>
            <p:ph type="body" sz="quarter" idx="20"/>
          </p:nvPr>
        </p:nvSpPr>
        <p:spPr>
          <a:xfrm>
            <a:off x="4660362" y="1328826"/>
            <a:ext cx="1970182" cy="3454913"/>
          </a:xfrm>
          <a:prstGeom prst="rect">
            <a:avLst/>
          </a:prstGeom>
          <a:noFill/>
          <a:effectLst/>
        </p:spPr>
        <p:txBody>
          <a:bodyPr lIns="0" tIns="0" rIns="0" bIns="0"/>
          <a:lstStyle>
            <a:lvl1pPr>
              <a:spcBef>
                <a:spcPts val="0"/>
              </a:spcBef>
              <a:spcAft>
                <a:spcPts val="600"/>
              </a:spcAft>
              <a:defRPr sz="1200">
                <a:solidFill>
                  <a:srgbClr val="C00C0F"/>
                </a:solidFill>
                <a:latin typeface="Verdana" panose="020B0604030504040204" pitchFamily="34" charset="0"/>
                <a:ea typeface="Verdana" panose="020B0604030504040204" pitchFamily="34" charset="0"/>
              </a:defRPr>
            </a:lvl1pPr>
            <a:lvl2pPr marL="0" indent="0">
              <a:spcBef>
                <a:spcPts val="0"/>
              </a:spcBef>
              <a:buNone/>
              <a:defRPr sz="1200">
                <a:solidFill>
                  <a:schemeClr val="tx1"/>
                </a:solidFill>
                <a:latin typeface="Verdana" panose="020B0604030504040204" pitchFamily="34" charset="0"/>
                <a:ea typeface="Verdana" panose="020B0604030504040204" pitchFamily="34" charset="0"/>
              </a:defRPr>
            </a:lvl2pPr>
            <a:lvl3pPr marL="108000" indent="-108000">
              <a:spcBef>
                <a:spcPts val="100"/>
              </a:spcBef>
              <a:spcAft>
                <a:spcPts val="0"/>
              </a:spcAft>
              <a:buClr>
                <a:srgbClr val="C00C0F"/>
              </a:buClr>
              <a:buSzPct val="100000"/>
              <a:buFont typeface="Wingdings" pitchFamily="2" charset="2"/>
              <a:buChar char="§"/>
              <a:defRPr lang="de-DE" sz="1200" b="0" kern="1200" dirty="0" smtClean="0">
                <a:solidFill>
                  <a:schemeClr val="tx1"/>
                </a:solidFill>
                <a:latin typeface="Verdana" panose="020B0604030504040204" pitchFamily="34" charset="0"/>
                <a:ea typeface="Verdana" panose="020B0604030504040204" pitchFamily="34" charset="0"/>
                <a:cs typeface="+mn-cs"/>
              </a:defRPr>
            </a:lvl3pPr>
          </a:lstStyle>
          <a:p>
            <a:pPr lvl="0"/>
            <a:r>
              <a:rPr lang="de-DE" dirty="0"/>
              <a:t>Mastertextformat bearbeiten</a:t>
            </a:r>
          </a:p>
          <a:p>
            <a:pPr lvl="1"/>
            <a:r>
              <a:rPr lang="de-DE" dirty="0"/>
              <a:t>Zweite Ebene</a:t>
            </a:r>
          </a:p>
          <a:p>
            <a:pPr lvl="2"/>
            <a:r>
              <a:rPr lang="de-DE" dirty="0"/>
              <a:t>Dritte Ebene</a:t>
            </a:r>
          </a:p>
        </p:txBody>
      </p:sp>
      <p:sp>
        <p:nvSpPr>
          <p:cNvPr id="20" name="Textplatzhalter 16">
            <a:extLst>
              <a:ext uri="{FF2B5EF4-FFF2-40B4-BE49-F238E27FC236}">
                <a16:creationId xmlns:a16="http://schemas.microsoft.com/office/drawing/2014/main" id="{C164B67C-ED60-40D5-AB32-28215CA4B8A8}"/>
              </a:ext>
            </a:extLst>
          </p:cNvPr>
          <p:cNvSpPr>
            <a:spLocks noGrp="1"/>
          </p:cNvSpPr>
          <p:nvPr>
            <p:ph type="body" sz="quarter" idx="21"/>
          </p:nvPr>
        </p:nvSpPr>
        <p:spPr>
          <a:xfrm>
            <a:off x="2510181" y="1328826"/>
            <a:ext cx="1970182" cy="3454913"/>
          </a:xfrm>
          <a:prstGeom prst="rect">
            <a:avLst/>
          </a:prstGeom>
          <a:noFill/>
          <a:effectLst/>
        </p:spPr>
        <p:txBody>
          <a:bodyPr lIns="0" tIns="0" rIns="0" bIns="0"/>
          <a:lstStyle>
            <a:lvl1pPr>
              <a:spcBef>
                <a:spcPts val="0"/>
              </a:spcBef>
              <a:spcAft>
                <a:spcPts val="600"/>
              </a:spcAft>
              <a:defRPr sz="1200">
                <a:solidFill>
                  <a:srgbClr val="C00C0F"/>
                </a:solidFill>
              </a:defRPr>
            </a:lvl1pPr>
            <a:lvl2pPr marL="0" indent="0">
              <a:spcBef>
                <a:spcPts val="0"/>
              </a:spcBef>
              <a:buNone/>
              <a:defRPr sz="1200">
                <a:solidFill>
                  <a:schemeClr val="tx1"/>
                </a:solidFill>
              </a:defRPr>
            </a:lvl2pPr>
            <a:lvl3pPr marL="108000" indent="-108000">
              <a:spcBef>
                <a:spcPts val="100"/>
              </a:spcBef>
              <a:spcAft>
                <a:spcPts val="0"/>
              </a:spcAft>
              <a:buClr>
                <a:srgbClr val="C00C0F"/>
              </a:buClr>
              <a:buSzPct val="100000"/>
              <a:buFont typeface="Wingdings" pitchFamily="2" charset="2"/>
              <a:buChar char="§"/>
              <a:defRPr lang="de-DE" sz="1200" b="0" kern="1200" dirty="0" smtClean="0">
                <a:solidFill>
                  <a:schemeClr val="tx1"/>
                </a:solidFill>
                <a:latin typeface="Open Sans" panose="020B0606030504020204" pitchFamily="34" charset="0"/>
                <a:ea typeface="+mn-ea"/>
                <a:cs typeface="+mn-cs"/>
              </a:defRPr>
            </a:lvl3pPr>
          </a:lstStyle>
          <a:p>
            <a:pPr lvl="0"/>
            <a:r>
              <a:rPr lang="de-DE" dirty="0"/>
              <a:t>Mastertextformat bearbeiten</a:t>
            </a:r>
          </a:p>
          <a:p>
            <a:pPr lvl="1"/>
            <a:r>
              <a:rPr lang="de-DE" dirty="0"/>
              <a:t>Zweite Ebene</a:t>
            </a:r>
          </a:p>
          <a:p>
            <a:pPr lvl="2"/>
            <a:r>
              <a:rPr lang="de-DE" dirty="0"/>
              <a:t>Dritte Ebene</a:t>
            </a:r>
          </a:p>
        </p:txBody>
      </p:sp>
      <p:pic>
        <p:nvPicPr>
          <p:cNvPr id="4" name="Grafik 3">
            <a:extLst>
              <a:ext uri="{FF2B5EF4-FFF2-40B4-BE49-F238E27FC236}">
                <a16:creationId xmlns:a16="http://schemas.microsoft.com/office/drawing/2014/main" id="{7C9D32BA-0D92-F33B-A120-E86F0BB15743}"/>
              </a:ext>
            </a:extLst>
          </p:cNvPr>
          <p:cNvPicPr>
            <a:picLocks noChangeAspect="1"/>
          </p:cNvPicPr>
          <p:nvPr userDrawn="1"/>
        </p:nvPicPr>
        <p:blipFill rotWithShape="1">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7625" t="22851" r="6862" b="24377"/>
          <a:stretch/>
        </p:blipFill>
        <p:spPr>
          <a:xfrm>
            <a:off x="7440686" y="314940"/>
            <a:ext cx="1382636" cy="479960"/>
          </a:xfrm>
          <a:prstGeom prst="rect">
            <a:avLst/>
          </a:prstGeom>
        </p:spPr>
      </p:pic>
    </p:spTree>
    <p:extLst>
      <p:ext uri="{BB962C8B-B14F-4D97-AF65-F5344CB8AC3E}">
        <p14:creationId xmlns:p14="http://schemas.microsoft.com/office/powerpoint/2010/main" val="3060107199"/>
      </p:ext>
    </p:extLst>
  </p:cSld>
  <p:clrMapOvr>
    <a:masterClrMapping/>
  </p:clrMapOvr>
  <p:transition spd="slow">
    <p:push/>
  </p:transition>
  <p:extLst>
    <p:ext uri="{DCECCB84-F9BA-43D5-87BE-67443E8EF086}">
      <p15:sldGuideLst xmlns:p15="http://schemas.microsoft.com/office/powerpoint/2012/main">
        <p15:guide id="1" orient="horz" pos="826">
          <p15:clr>
            <a:srgbClr val="FBAE40"/>
          </p15:clr>
        </p15:guide>
        <p15:guide id="2" pos="28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ld links">
    <p:spTree>
      <p:nvGrpSpPr>
        <p:cNvPr id="1" name=""/>
        <p:cNvGrpSpPr/>
        <p:nvPr/>
      </p:nvGrpSpPr>
      <p:grpSpPr>
        <a:xfrm>
          <a:off x="0" y="0"/>
          <a:ext cx="0" cy="0"/>
          <a:chOff x="0" y="0"/>
          <a:chExt cx="0" cy="0"/>
        </a:xfrm>
      </p:grpSpPr>
      <p:sp>
        <p:nvSpPr>
          <p:cNvPr id="16" name="Bildplatzhalter 2">
            <a:extLst>
              <a:ext uri="{FF2B5EF4-FFF2-40B4-BE49-F238E27FC236}">
                <a16:creationId xmlns:a16="http://schemas.microsoft.com/office/drawing/2014/main" id="{CDEF1F37-91FB-448C-929E-365EDD8F7869}"/>
              </a:ext>
            </a:extLst>
          </p:cNvPr>
          <p:cNvSpPr>
            <a:spLocks noGrp="1"/>
          </p:cNvSpPr>
          <p:nvPr>
            <p:ph type="pic" sz="quarter" idx="17"/>
          </p:nvPr>
        </p:nvSpPr>
        <p:spPr>
          <a:xfrm>
            <a:off x="0" y="0"/>
            <a:ext cx="3564000" cy="5143500"/>
          </a:xfrm>
          <a:prstGeom prst="rect">
            <a:avLst/>
          </a:prstGeom>
          <a:solidFill>
            <a:schemeClr val="accent6">
              <a:lumMod val="20000"/>
              <a:lumOff val="80000"/>
            </a:schemeClr>
          </a:solidFill>
          <a:effectLst/>
        </p:spPr>
        <p:txBody>
          <a:bodyPr anchor="ctr"/>
          <a:lstStyle>
            <a:lvl1pPr algn="ctr">
              <a:defRPr>
                <a:solidFill>
                  <a:srgbClr val="C00C0F"/>
                </a:solidFill>
              </a:defRPr>
            </a:lvl1pPr>
          </a:lstStyle>
          <a:p>
            <a:r>
              <a:rPr lang="de-DE" dirty="0"/>
              <a:t>Bild durch Klicken auf Symbol hinzufügen</a:t>
            </a:r>
          </a:p>
        </p:txBody>
      </p:sp>
      <p:sp>
        <p:nvSpPr>
          <p:cNvPr id="14" name="Textfeld 13">
            <a:extLst>
              <a:ext uri="{FF2B5EF4-FFF2-40B4-BE49-F238E27FC236}">
                <a16:creationId xmlns:a16="http://schemas.microsoft.com/office/drawing/2014/main" id="{B40A77E8-93E1-490F-9196-C856EE896C86}"/>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45" name="Textplatzhalter 6">
            <a:extLst>
              <a:ext uri="{FF2B5EF4-FFF2-40B4-BE49-F238E27FC236}">
                <a16:creationId xmlns:a16="http://schemas.microsoft.com/office/drawing/2014/main" id="{AAA67ED7-CCCC-43CA-9D20-FC2864D9873C}"/>
              </a:ext>
            </a:extLst>
          </p:cNvPr>
          <p:cNvSpPr>
            <a:spLocks noGrp="1"/>
          </p:cNvSpPr>
          <p:nvPr>
            <p:ph type="body" sz="quarter" idx="13"/>
          </p:nvPr>
        </p:nvSpPr>
        <p:spPr>
          <a:xfrm>
            <a:off x="3922358" y="342258"/>
            <a:ext cx="3189420" cy="531499"/>
          </a:xfrm>
          <a:prstGeom prst="rect">
            <a:avLst/>
          </a:prstGeom>
        </p:spPr>
        <p:txBody>
          <a:bodyPr lIns="0" tIns="0" rIns="0" bIns="0" anchor="t"/>
          <a:lstStyle>
            <a:lvl1pPr marL="0" indent="0">
              <a:spcBef>
                <a:spcPts val="0"/>
              </a:spcBef>
              <a:spcAft>
                <a:spcPts val="0"/>
              </a:spcAft>
              <a:buFontTx/>
              <a:buNone/>
              <a:defRPr sz="2000" b="1">
                <a:solidFill>
                  <a:schemeClr val="tx1"/>
                </a:solidFill>
                <a:latin typeface="Verdana" panose="020B0604030504040204" pitchFamily="34" charset="0"/>
                <a:ea typeface="Verdana" panose="020B0604030504040204" pitchFamily="34" charset="0"/>
                <a:cs typeface="Open Sans" panose="020B0606030504020204" pitchFamily="34" charset="0"/>
              </a:defRPr>
            </a:lvl1pPr>
            <a:lvl2pPr marL="0" indent="0">
              <a:lnSpc>
                <a:spcPct val="125000"/>
              </a:lnSpc>
              <a:spcBef>
                <a:spcPts val="0"/>
              </a:spcBef>
              <a:buFontTx/>
              <a:buNone/>
              <a:defRPr sz="1300">
                <a:solidFill>
                  <a:schemeClr val="bg2"/>
                </a:solidFill>
                <a:latin typeface="Verdana" panose="020B0604030504040204" pitchFamily="34" charset="0"/>
                <a:ea typeface="Verdana" panose="020B0604030504040204" pitchFamily="34" charset="0"/>
                <a:cs typeface="Open Sans" panose="020B0606030504020204" pitchFamily="34" charset="0"/>
              </a:defRPr>
            </a:lvl2pPr>
          </a:lstStyle>
          <a:p>
            <a:pPr lvl="0"/>
            <a:r>
              <a:rPr lang="de-DE" dirty="0"/>
              <a:t>Mastertextformat bearbeiten</a:t>
            </a:r>
          </a:p>
          <a:p>
            <a:pPr lvl="1"/>
            <a:r>
              <a:rPr lang="de-DE" dirty="0"/>
              <a:t>Zweite Ebene</a:t>
            </a:r>
          </a:p>
        </p:txBody>
      </p:sp>
      <p:sp>
        <p:nvSpPr>
          <p:cNvPr id="46" name="Gleichschenkliges Dreieck 45">
            <a:extLst>
              <a:ext uri="{FF2B5EF4-FFF2-40B4-BE49-F238E27FC236}">
                <a16:creationId xmlns:a16="http://schemas.microsoft.com/office/drawing/2014/main" id="{3A629990-9155-4B04-8896-3412E3AF7B93}"/>
              </a:ext>
            </a:extLst>
          </p:cNvPr>
          <p:cNvSpPr/>
          <p:nvPr userDrawn="1"/>
        </p:nvSpPr>
        <p:spPr>
          <a:xfrm rot="5400000">
            <a:off x="3520393" y="416079"/>
            <a:ext cx="236438" cy="149225"/>
          </a:xfrm>
          <a:prstGeom prst="triangle">
            <a:avLst/>
          </a:prstGeom>
          <a:solidFill>
            <a:srgbClr val="C00C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3" name="Textplatzhalter 3">
            <a:extLst>
              <a:ext uri="{FF2B5EF4-FFF2-40B4-BE49-F238E27FC236}">
                <a16:creationId xmlns:a16="http://schemas.microsoft.com/office/drawing/2014/main" id="{35177B02-FEC7-1605-5E18-14D1281EC520}"/>
              </a:ext>
            </a:extLst>
          </p:cNvPr>
          <p:cNvSpPr>
            <a:spLocks noGrp="1"/>
          </p:cNvSpPr>
          <p:nvPr>
            <p:ph type="body" sz="quarter" idx="22"/>
          </p:nvPr>
        </p:nvSpPr>
        <p:spPr>
          <a:xfrm>
            <a:off x="3921188" y="1330987"/>
            <a:ext cx="4863270" cy="3470255"/>
          </a:xfrm>
          <a:prstGeom prst="rect">
            <a:avLst/>
          </a:prstGeom>
        </p:spPr>
        <p:txBody>
          <a:bodyPr lIns="0" tIns="0" rIns="0" bIns="0"/>
          <a:lstStyle>
            <a:lvl1pPr>
              <a:spcBef>
                <a:spcPts val="0"/>
              </a:spcBef>
              <a:spcAft>
                <a:spcPts val="600"/>
              </a:spcAft>
              <a:defRPr sz="1200">
                <a:solidFill>
                  <a:schemeClr val="tx1"/>
                </a:solidFill>
                <a:latin typeface="Verdana" panose="020B0604030504040204" pitchFamily="34" charset="0"/>
                <a:ea typeface="Verdana" panose="020B0604030504040204" pitchFamily="34" charset="0"/>
              </a:defRPr>
            </a:lvl1pPr>
            <a:lvl2pPr marL="108000" indent="-108000">
              <a:spcBef>
                <a:spcPts val="100"/>
              </a:spcBef>
              <a:buClr>
                <a:srgbClr val="C00C0F"/>
              </a:buClr>
              <a:buSzPct val="100000"/>
              <a:buFont typeface="Wingdings" pitchFamily="2" charset="2"/>
              <a:buChar char="§"/>
              <a:defRPr sz="1200">
                <a:solidFill>
                  <a:schemeClr val="tx1"/>
                </a:solidFill>
                <a:latin typeface="Verdana" panose="020B0604030504040204" pitchFamily="34" charset="0"/>
                <a:ea typeface="Verdana" panose="020B0604030504040204" pitchFamily="34" charset="0"/>
              </a:defRPr>
            </a:lvl2pPr>
            <a:lvl3pPr marL="914378" indent="0">
              <a:buNone/>
              <a:defRPr/>
            </a:lvl3pPr>
          </a:lstStyle>
          <a:p>
            <a:pPr lvl="0"/>
            <a:r>
              <a:rPr lang="de-DE" dirty="0"/>
              <a:t>Mastertextformat bearbeiten</a:t>
            </a:r>
          </a:p>
          <a:p>
            <a:pPr lvl="1"/>
            <a:r>
              <a:rPr lang="de-DE" dirty="0"/>
              <a:t>Zweite Ebene</a:t>
            </a:r>
          </a:p>
        </p:txBody>
      </p:sp>
      <p:pic>
        <p:nvPicPr>
          <p:cNvPr id="5" name="Grafik 4">
            <a:extLst>
              <a:ext uri="{FF2B5EF4-FFF2-40B4-BE49-F238E27FC236}">
                <a16:creationId xmlns:a16="http://schemas.microsoft.com/office/drawing/2014/main" id="{4DC1F6CA-3675-0AA5-91F3-E951E87BA9DB}"/>
              </a:ext>
            </a:extLst>
          </p:cNvPr>
          <p:cNvPicPr>
            <a:picLocks noChangeAspect="1"/>
          </p:cNvPicPr>
          <p:nvPr userDrawn="1"/>
        </p:nvPicPr>
        <p:blipFill rotWithShape="1">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7625" t="22851" r="6862" b="24377"/>
          <a:stretch/>
        </p:blipFill>
        <p:spPr>
          <a:xfrm>
            <a:off x="7440686" y="314940"/>
            <a:ext cx="1382636" cy="479960"/>
          </a:xfrm>
          <a:prstGeom prst="rect">
            <a:avLst/>
          </a:prstGeom>
        </p:spPr>
      </p:pic>
    </p:spTree>
    <p:extLst>
      <p:ext uri="{BB962C8B-B14F-4D97-AF65-F5344CB8AC3E}">
        <p14:creationId xmlns:p14="http://schemas.microsoft.com/office/powerpoint/2010/main" val="2504028730"/>
      </p:ext>
    </p:extLst>
  </p:cSld>
  <p:clrMapOvr>
    <a:masterClrMapping/>
  </p:clrMapOvr>
  <p:transition spd="slow">
    <p:push/>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arbfläche links orange">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57A06A3-96EB-4B8F-9307-429F1D4B78A1}"/>
              </a:ext>
            </a:extLst>
          </p:cNvPr>
          <p:cNvSpPr/>
          <p:nvPr userDrawn="1"/>
        </p:nvSpPr>
        <p:spPr>
          <a:xfrm>
            <a:off x="-1" y="0"/>
            <a:ext cx="3564000" cy="5143500"/>
          </a:xfrm>
          <a:prstGeom prst="rect">
            <a:avLst/>
          </a:prstGeom>
          <a:solidFill>
            <a:srgbClr val="C00C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Verdana" panose="020B0604030504040204" pitchFamily="34" charset="0"/>
              <a:ea typeface="Verdana" panose="020B0604030504040204" pitchFamily="34" charset="0"/>
            </a:endParaRPr>
          </a:p>
        </p:txBody>
      </p:sp>
      <p:sp>
        <p:nvSpPr>
          <p:cNvPr id="14" name="Textfeld 13">
            <a:extLst>
              <a:ext uri="{FF2B5EF4-FFF2-40B4-BE49-F238E27FC236}">
                <a16:creationId xmlns:a16="http://schemas.microsoft.com/office/drawing/2014/main" id="{B40A77E8-93E1-490F-9196-C856EE896C86}"/>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Verdana" panose="020B0604030504040204" pitchFamily="34" charset="0"/>
                <a:ea typeface="Verdana" panose="020B0604030504040204" pitchFamily="34" charset="0"/>
                <a:cs typeface="Open Sans" panose="020B0606030504020204" pitchFamily="34" charset="0"/>
              </a:rPr>
              <a:t>confidential</a:t>
            </a:r>
          </a:p>
        </p:txBody>
      </p:sp>
      <p:sp>
        <p:nvSpPr>
          <p:cNvPr id="45" name="Textplatzhalter 6">
            <a:extLst>
              <a:ext uri="{FF2B5EF4-FFF2-40B4-BE49-F238E27FC236}">
                <a16:creationId xmlns:a16="http://schemas.microsoft.com/office/drawing/2014/main" id="{AAA67ED7-CCCC-43CA-9D20-FC2864D9873C}"/>
              </a:ext>
            </a:extLst>
          </p:cNvPr>
          <p:cNvSpPr>
            <a:spLocks noGrp="1"/>
          </p:cNvSpPr>
          <p:nvPr>
            <p:ph type="body" sz="quarter" idx="13"/>
          </p:nvPr>
        </p:nvSpPr>
        <p:spPr>
          <a:xfrm>
            <a:off x="358358" y="342258"/>
            <a:ext cx="2844934" cy="531499"/>
          </a:xfrm>
          <a:prstGeom prst="rect">
            <a:avLst/>
          </a:prstGeom>
        </p:spPr>
        <p:txBody>
          <a:bodyPr lIns="0" tIns="0" rIns="0" bIns="0" anchor="t"/>
          <a:lstStyle>
            <a:lvl1pPr marL="0" indent="0">
              <a:spcBef>
                <a:spcPts val="0"/>
              </a:spcBef>
              <a:spcAft>
                <a:spcPts val="0"/>
              </a:spcAft>
              <a:buFontTx/>
              <a:buNone/>
              <a:defRPr sz="2000" b="1">
                <a:solidFill>
                  <a:schemeClr val="tx1"/>
                </a:solidFill>
                <a:latin typeface="Verdana" panose="020B0604030504040204" pitchFamily="34" charset="0"/>
                <a:ea typeface="Verdana" panose="020B0604030504040204" pitchFamily="34" charset="0"/>
                <a:cs typeface="Open Sans" panose="020B0606030504020204" pitchFamily="34" charset="0"/>
              </a:defRPr>
            </a:lvl1pPr>
            <a:lvl2pPr marL="0" indent="0">
              <a:lnSpc>
                <a:spcPct val="125000"/>
              </a:lnSpc>
              <a:spcBef>
                <a:spcPts val="0"/>
              </a:spcBef>
              <a:buFontTx/>
              <a:buNone/>
              <a:defRPr sz="1300">
                <a:solidFill>
                  <a:schemeClr val="bg1"/>
                </a:solidFill>
                <a:latin typeface="Verdana" panose="020B0604030504040204" pitchFamily="34" charset="0"/>
                <a:ea typeface="Verdana" panose="020B0604030504040204" pitchFamily="34" charset="0"/>
                <a:cs typeface="Open Sans" panose="020B0606030504020204" pitchFamily="34" charset="0"/>
              </a:defRPr>
            </a:lvl2pPr>
          </a:lstStyle>
          <a:p>
            <a:pPr lvl="0"/>
            <a:r>
              <a:rPr lang="de-DE" dirty="0"/>
              <a:t>Mastertextformat bearbeiten</a:t>
            </a:r>
          </a:p>
          <a:p>
            <a:pPr lvl="1"/>
            <a:r>
              <a:rPr lang="de-DE" dirty="0"/>
              <a:t>Zweite Ebene</a:t>
            </a:r>
          </a:p>
        </p:txBody>
      </p:sp>
      <p:sp>
        <p:nvSpPr>
          <p:cNvPr id="46" name="Gleichschenkliges Dreieck 45">
            <a:extLst>
              <a:ext uri="{FF2B5EF4-FFF2-40B4-BE49-F238E27FC236}">
                <a16:creationId xmlns:a16="http://schemas.microsoft.com/office/drawing/2014/main" id="{3A629990-9155-4B04-8896-3412E3AF7B93}"/>
              </a:ext>
            </a:extLst>
          </p:cNvPr>
          <p:cNvSpPr/>
          <p:nvPr userDrawn="1"/>
        </p:nvSpPr>
        <p:spPr>
          <a:xfrm rot="5400000">
            <a:off x="-43607" y="416079"/>
            <a:ext cx="236438" cy="14922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Verdana" panose="020B0604030504040204" pitchFamily="34" charset="0"/>
              <a:ea typeface="Verdana" panose="020B0604030504040204" pitchFamily="34" charset="0"/>
            </a:endParaRPr>
          </a:p>
        </p:txBody>
      </p:sp>
      <p:sp>
        <p:nvSpPr>
          <p:cNvPr id="21" name="Textplatzhalter 3">
            <a:extLst>
              <a:ext uri="{FF2B5EF4-FFF2-40B4-BE49-F238E27FC236}">
                <a16:creationId xmlns:a16="http://schemas.microsoft.com/office/drawing/2014/main" id="{81DE41A0-FF9D-433E-A0D1-C0DCDA540909}"/>
              </a:ext>
            </a:extLst>
          </p:cNvPr>
          <p:cNvSpPr>
            <a:spLocks noGrp="1"/>
          </p:cNvSpPr>
          <p:nvPr>
            <p:ph type="body" sz="quarter" idx="19"/>
          </p:nvPr>
        </p:nvSpPr>
        <p:spPr>
          <a:xfrm>
            <a:off x="357189" y="1328826"/>
            <a:ext cx="2842586" cy="3472416"/>
          </a:xfrm>
          <a:prstGeom prst="rect">
            <a:avLst/>
          </a:prstGeom>
        </p:spPr>
        <p:txBody>
          <a:bodyPr lIns="0" tIns="0" rIns="0" bIns="0"/>
          <a:lstStyle>
            <a:lvl1pPr>
              <a:spcBef>
                <a:spcPts val="0"/>
              </a:spcBef>
              <a:spcAft>
                <a:spcPts val="600"/>
              </a:spcAft>
              <a:defRPr sz="1200">
                <a:solidFill>
                  <a:schemeClr val="bg1"/>
                </a:solidFill>
                <a:latin typeface="Verdana" panose="020B0604030504040204" pitchFamily="34" charset="0"/>
                <a:ea typeface="Verdana" panose="020B0604030504040204" pitchFamily="34" charset="0"/>
              </a:defRPr>
            </a:lvl1pPr>
            <a:lvl2pPr marL="108000" indent="-108000">
              <a:spcBef>
                <a:spcPts val="100"/>
              </a:spcBef>
              <a:buSzPct val="100000"/>
              <a:buFont typeface="Wingdings" pitchFamily="2" charset="2"/>
              <a:buChar char="§"/>
              <a:defRPr sz="1200">
                <a:solidFill>
                  <a:schemeClr val="bg1"/>
                </a:solidFill>
                <a:latin typeface="Verdana" panose="020B0604030504040204" pitchFamily="34" charset="0"/>
                <a:ea typeface="Verdana" panose="020B0604030504040204" pitchFamily="34" charset="0"/>
              </a:defRPr>
            </a:lvl2pPr>
            <a:lvl3pPr marL="914378" indent="0">
              <a:buNone/>
              <a:defRPr/>
            </a:lvl3pPr>
          </a:lstStyle>
          <a:p>
            <a:pPr lvl="0"/>
            <a:r>
              <a:rPr lang="de-DE" dirty="0"/>
              <a:t>Mastertextformat bearbeiten</a:t>
            </a:r>
          </a:p>
          <a:p>
            <a:pPr lvl="1"/>
            <a:r>
              <a:rPr lang="de-DE" dirty="0"/>
              <a:t>Zweite Ebene</a:t>
            </a:r>
          </a:p>
        </p:txBody>
      </p:sp>
      <p:sp>
        <p:nvSpPr>
          <p:cNvPr id="4" name="Textplatzhalter 3">
            <a:extLst>
              <a:ext uri="{FF2B5EF4-FFF2-40B4-BE49-F238E27FC236}">
                <a16:creationId xmlns:a16="http://schemas.microsoft.com/office/drawing/2014/main" id="{C8B93D6A-B7B7-2FCD-15F5-B92CD438BCF3}"/>
              </a:ext>
            </a:extLst>
          </p:cNvPr>
          <p:cNvSpPr>
            <a:spLocks noGrp="1"/>
          </p:cNvSpPr>
          <p:nvPr>
            <p:ph type="body" sz="quarter" idx="22"/>
          </p:nvPr>
        </p:nvSpPr>
        <p:spPr>
          <a:xfrm>
            <a:off x="3921188" y="1330987"/>
            <a:ext cx="4863270" cy="3470255"/>
          </a:xfrm>
          <a:prstGeom prst="rect">
            <a:avLst/>
          </a:prstGeom>
        </p:spPr>
        <p:txBody>
          <a:bodyPr lIns="0" tIns="0" rIns="0" bIns="0"/>
          <a:lstStyle>
            <a:lvl1pPr>
              <a:spcBef>
                <a:spcPts val="0"/>
              </a:spcBef>
              <a:spcAft>
                <a:spcPts val="600"/>
              </a:spcAft>
              <a:defRPr sz="1200">
                <a:solidFill>
                  <a:schemeClr val="tx1"/>
                </a:solidFill>
                <a:latin typeface="Verdana" panose="020B0604030504040204" pitchFamily="34" charset="0"/>
                <a:ea typeface="Verdana" panose="020B0604030504040204" pitchFamily="34" charset="0"/>
              </a:defRPr>
            </a:lvl1pPr>
            <a:lvl2pPr marL="108000" indent="-108000">
              <a:spcBef>
                <a:spcPts val="100"/>
              </a:spcBef>
              <a:buClr>
                <a:srgbClr val="C00C0F"/>
              </a:buClr>
              <a:buSzPct val="100000"/>
              <a:buFont typeface="Wingdings" pitchFamily="2" charset="2"/>
              <a:buChar char="§"/>
              <a:defRPr sz="1200">
                <a:solidFill>
                  <a:schemeClr val="tx1"/>
                </a:solidFill>
                <a:latin typeface="Verdana" panose="020B0604030504040204" pitchFamily="34" charset="0"/>
                <a:ea typeface="Verdana" panose="020B0604030504040204" pitchFamily="34" charset="0"/>
              </a:defRPr>
            </a:lvl2pPr>
            <a:lvl3pPr marL="914378" indent="0">
              <a:buNone/>
              <a:defRPr/>
            </a:lvl3pPr>
          </a:lstStyle>
          <a:p>
            <a:pPr lvl="0"/>
            <a:r>
              <a:rPr lang="de-DE" dirty="0"/>
              <a:t>Mastertextformat bearbeiten</a:t>
            </a:r>
          </a:p>
          <a:p>
            <a:pPr lvl="1"/>
            <a:r>
              <a:rPr lang="de-DE" dirty="0"/>
              <a:t>Zweite Ebene</a:t>
            </a:r>
          </a:p>
        </p:txBody>
      </p:sp>
      <p:pic>
        <p:nvPicPr>
          <p:cNvPr id="6" name="Grafik 5">
            <a:extLst>
              <a:ext uri="{FF2B5EF4-FFF2-40B4-BE49-F238E27FC236}">
                <a16:creationId xmlns:a16="http://schemas.microsoft.com/office/drawing/2014/main" id="{6FD21AB7-1840-79B8-3CC4-FE687F31BCC3}"/>
              </a:ext>
            </a:extLst>
          </p:cNvPr>
          <p:cNvPicPr>
            <a:picLocks noChangeAspect="1"/>
          </p:cNvPicPr>
          <p:nvPr userDrawn="1"/>
        </p:nvPicPr>
        <p:blipFill rotWithShape="1">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7625" t="22851" r="6862" b="24377"/>
          <a:stretch/>
        </p:blipFill>
        <p:spPr>
          <a:xfrm>
            <a:off x="7440686" y="314940"/>
            <a:ext cx="1382636" cy="479960"/>
          </a:xfrm>
          <a:prstGeom prst="rect">
            <a:avLst/>
          </a:prstGeom>
        </p:spPr>
      </p:pic>
    </p:spTree>
    <p:extLst>
      <p:ext uri="{BB962C8B-B14F-4D97-AF65-F5344CB8AC3E}">
        <p14:creationId xmlns:p14="http://schemas.microsoft.com/office/powerpoint/2010/main" val="3754861246"/>
      </p:ext>
    </p:extLst>
  </p:cSld>
  <p:clrMapOvr>
    <a:masterClrMapping/>
  </p:clrMapOvr>
  <p:transition spd="slow">
    <p:push/>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arbfläche links dunkelgrau">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57A06A3-96EB-4B8F-9307-429F1D4B78A1}"/>
              </a:ext>
            </a:extLst>
          </p:cNvPr>
          <p:cNvSpPr/>
          <p:nvPr userDrawn="1"/>
        </p:nvSpPr>
        <p:spPr>
          <a:xfrm>
            <a:off x="-1" y="0"/>
            <a:ext cx="356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Verdana" panose="020B0604030504040204" pitchFamily="34" charset="0"/>
              <a:ea typeface="Verdana" panose="020B0604030504040204" pitchFamily="34" charset="0"/>
            </a:endParaRPr>
          </a:p>
        </p:txBody>
      </p:sp>
      <p:sp>
        <p:nvSpPr>
          <p:cNvPr id="14" name="Textfeld 13">
            <a:extLst>
              <a:ext uri="{FF2B5EF4-FFF2-40B4-BE49-F238E27FC236}">
                <a16:creationId xmlns:a16="http://schemas.microsoft.com/office/drawing/2014/main" id="{B40A77E8-93E1-490F-9196-C856EE896C86}"/>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Verdana" panose="020B0604030504040204" pitchFamily="34" charset="0"/>
                <a:ea typeface="Verdana" panose="020B0604030504040204" pitchFamily="34" charset="0"/>
                <a:cs typeface="Open Sans" panose="020B0606030504020204" pitchFamily="34" charset="0"/>
              </a:rPr>
              <a:t>confidential</a:t>
            </a:r>
          </a:p>
        </p:txBody>
      </p:sp>
      <p:sp>
        <p:nvSpPr>
          <p:cNvPr id="46" name="Gleichschenkliges Dreieck 45">
            <a:extLst>
              <a:ext uri="{FF2B5EF4-FFF2-40B4-BE49-F238E27FC236}">
                <a16:creationId xmlns:a16="http://schemas.microsoft.com/office/drawing/2014/main" id="{3A629990-9155-4B04-8896-3412E3AF7B93}"/>
              </a:ext>
            </a:extLst>
          </p:cNvPr>
          <p:cNvSpPr/>
          <p:nvPr userDrawn="1"/>
        </p:nvSpPr>
        <p:spPr>
          <a:xfrm rot="5400000">
            <a:off x="-43607" y="416079"/>
            <a:ext cx="236438" cy="14922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Verdana" panose="020B0604030504040204" pitchFamily="34" charset="0"/>
              <a:ea typeface="Verdana" panose="020B0604030504040204" pitchFamily="34" charset="0"/>
            </a:endParaRPr>
          </a:p>
        </p:txBody>
      </p:sp>
      <p:sp>
        <p:nvSpPr>
          <p:cNvPr id="19" name="Textplatzhalter 6">
            <a:extLst>
              <a:ext uri="{FF2B5EF4-FFF2-40B4-BE49-F238E27FC236}">
                <a16:creationId xmlns:a16="http://schemas.microsoft.com/office/drawing/2014/main" id="{1417080F-5EED-4C8D-A0D7-3801A072617A}"/>
              </a:ext>
            </a:extLst>
          </p:cNvPr>
          <p:cNvSpPr>
            <a:spLocks noGrp="1"/>
          </p:cNvSpPr>
          <p:nvPr>
            <p:ph type="body" sz="quarter" idx="13"/>
          </p:nvPr>
        </p:nvSpPr>
        <p:spPr>
          <a:xfrm>
            <a:off x="358358" y="342258"/>
            <a:ext cx="2844934" cy="531499"/>
          </a:xfrm>
          <a:prstGeom prst="rect">
            <a:avLst/>
          </a:prstGeom>
        </p:spPr>
        <p:txBody>
          <a:bodyPr lIns="0" tIns="0" rIns="0" bIns="0" anchor="t"/>
          <a:lstStyle>
            <a:lvl1pPr marL="0" indent="0">
              <a:spcBef>
                <a:spcPts val="0"/>
              </a:spcBef>
              <a:spcAft>
                <a:spcPts val="0"/>
              </a:spcAft>
              <a:buFontTx/>
              <a:buNone/>
              <a:defRPr sz="2000" b="1">
                <a:solidFill>
                  <a:srgbClr val="C00C0F"/>
                </a:solidFill>
                <a:latin typeface="Verdana" panose="020B0604030504040204" pitchFamily="34" charset="0"/>
                <a:ea typeface="Verdana" panose="020B0604030504040204" pitchFamily="34" charset="0"/>
                <a:cs typeface="Open Sans" panose="020B0606030504020204" pitchFamily="34" charset="0"/>
              </a:defRPr>
            </a:lvl1pPr>
            <a:lvl2pPr marL="0" indent="0">
              <a:lnSpc>
                <a:spcPct val="125000"/>
              </a:lnSpc>
              <a:spcBef>
                <a:spcPts val="0"/>
              </a:spcBef>
              <a:buFontTx/>
              <a:buNone/>
              <a:defRPr sz="1300">
                <a:solidFill>
                  <a:schemeClr val="bg1"/>
                </a:solidFill>
                <a:latin typeface="Verdana" panose="020B0604030504040204" pitchFamily="34" charset="0"/>
                <a:ea typeface="Verdana" panose="020B0604030504040204" pitchFamily="34" charset="0"/>
                <a:cs typeface="Open Sans" panose="020B0606030504020204" pitchFamily="34" charset="0"/>
              </a:defRPr>
            </a:lvl2pPr>
          </a:lstStyle>
          <a:p>
            <a:pPr lvl="0"/>
            <a:r>
              <a:rPr lang="de-DE" dirty="0"/>
              <a:t>Mastertextformat bearbeiten</a:t>
            </a:r>
          </a:p>
          <a:p>
            <a:pPr lvl="1"/>
            <a:r>
              <a:rPr lang="de-DE" dirty="0"/>
              <a:t>Zweite Ebene</a:t>
            </a:r>
          </a:p>
        </p:txBody>
      </p:sp>
      <p:sp>
        <p:nvSpPr>
          <p:cNvPr id="20" name="Textplatzhalter 3">
            <a:extLst>
              <a:ext uri="{FF2B5EF4-FFF2-40B4-BE49-F238E27FC236}">
                <a16:creationId xmlns:a16="http://schemas.microsoft.com/office/drawing/2014/main" id="{B07BA3D1-77DA-D64B-8BC3-505E008C1C5D}"/>
              </a:ext>
            </a:extLst>
          </p:cNvPr>
          <p:cNvSpPr>
            <a:spLocks noGrp="1"/>
          </p:cNvSpPr>
          <p:nvPr>
            <p:ph type="body" sz="quarter" idx="19"/>
          </p:nvPr>
        </p:nvSpPr>
        <p:spPr>
          <a:xfrm>
            <a:off x="357189" y="1328826"/>
            <a:ext cx="2842586" cy="3472416"/>
          </a:xfrm>
          <a:prstGeom prst="rect">
            <a:avLst/>
          </a:prstGeom>
        </p:spPr>
        <p:txBody>
          <a:bodyPr lIns="0" tIns="0" rIns="0" bIns="0"/>
          <a:lstStyle>
            <a:lvl1pPr>
              <a:spcBef>
                <a:spcPts val="0"/>
              </a:spcBef>
              <a:spcAft>
                <a:spcPts val="600"/>
              </a:spcAft>
              <a:defRPr sz="1200">
                <a:solidFill>
                  <a:schemeClr val="bg1"/>
                </a:solidFill>
                <a:latin typeface="Verdana" panose="020B0604030504040204" pitchFamily="34" charset="0"/>
                <a:ea typeface="Verdana" panose="020B0604030504040204" pitchFamily="34" charset="0"/>
              </a:defRPr>
            </a:lvl1pPr>
            <a:lvl2pPr marL="108000" indent="-108000">
              <a:spcBef>
                <a:spcPts val="100"/>
              </a:spcBef>
              <a:buClr>
                <a:srgbClr val="C00C0F"/>
              </a:buClr>
              <a:buSzPct val="100000"/>
              <a:buFont typeface="Wingdings" pitchFamily="2" charset="2"/>
              <a:buChar char="§"/>
              <a:defRPr sz="1200">
                <a:solidFill>
                  <a:schemeClr val="bg1"/>
                </a:solidFill>
                <a:latin typeface="Verdana" panose="020B0604030504040204" pitchFamily="34" charset="0"/>
                <a:ea typeface="Verdana" panose="020B0604030504040204" pitchFamily="34" charset="0"/>
              </a:defRPr>
            </a:lvl2pPr>
            <a:lvl3pPr marL="914378" indent="0">
              <a:buNone/>
              <a:defRPr/>
            </a:lvl3pPr>
          </a:lstStyle>
          <a:p>
            <a:pPr lvl="0"/>
            <a:r>
              <a:rPr lang="de-DE" dirty="0"/>
              <a:t>Mastertextformat bearbeiten</a:t>
            </a:r>
          </a:p>
          <a:p>
            <a:pPr lvl="1"/>
            <a:r>
              <a:rPr lang="de-DE" dirty="0"/>
              <a:t>Zweite Ebene</a:t>
            </a:r>
          </a:p>
        </p:txBody>
      </p:sp>
      <p:sp>
        <p:nvSpPr>
          <p:cNvPr id="4" name="Textplatzhalter 3">
            <a:extLst>
              <a:ext uri="{FF2B5EF4-FFF2-40B4-BE49-F238E27FC236}">
                <a16:creationId xmlns:a16="http://schemas.microsoft.com/office/drawing/2014/main" id="{216C05F7-891E-80C3-A2B7-1BF9189346D4}"/>
              </a:ext>
            </a:extLst>
          </p:cNvPr>
          <p:cNvSpPr>
            <a:spLocks noGrp="1"/>
          </p:cNvSpPr>
          <p:nvPr>
            <p:ph type="body" sz="quarter" idx="22"/>
          </p:nvPr>
        </p:nvSpPr>
        <p:spPr>
          <a:xfrm>
            <a:off x="3921188" y="1330987"/>
            <a:ext cx="4863270" cy="3470255"/>
          </a:xfrm>
          <a:prstGeom prst="rect">
            <a:avLst/>
          </a:prstGeom>
        </p:spPr>
        <p:txBody>
          <a:bodyPr lIns="0" tIns="0" rIns="0" bIns="0"/>
          <a:lstStyle>
            <a:lvl1pPr>
              <a:spcBef>
                <a:spcPts val="0"/>
              </a:spcBef>
              <a:spcAft>
                <a:spcPts val="600"/>
              </a:spcAft>
              <a:defRPr sz="1200">
                <a:solidFill>
                  <a:schemeClr val="tx1"/>
                </a:solidFill>
                <a:latin typeface="Verdana" panose="020B0604030504040204" pitchFamily="34" charset="0"/>
                <a:ea typeface="Verdana" panose="020B0604030504040204" pitchFamily="34" charset="0"/>
              </a:defRPr>
            </a:lvl1pPr>
            <a:lvl2pPr marL="108000" indent="-108000">
              <a:spcBef>
                <a:spcPts val="100"/>
              </a:spcBef>
              <a:buClr>
                <a:srgbClr val="C00C0F"/>
              </a:buClr>
              <a:buSzPct val="100000"/>
              <a:buFont typeface="Wingdings" pitchFamily="2" charset="2"/>
              <a:buChar char="§"/>
              <a:defRPr sz="1200">
                <a:solidFill>
                  <a:schemeClr val="tx1"/>
                </a:solidFill>
                <a:latin typeface="Verdana" panose="020B0604030504040204" pitchFamily="34" charset="0"/>
                <a:ea typeface="Verdana" panose="020B0604030504040204" pitchFamily="34" charset="0"/>
              </a:defRPr>
            </a:lvl2pPr>
            <a:lvl3pPr marL="914378" indent="0">
              <a:buNone/>
              <a:defRPr/>
            </a:lvl3pPr>
          </a:lstStyle>
          <a:p>
            <a:pPr lvl="0"/>
            <a:r>
              <a:rPr lang="de-DE" dirty="0"/>
              <a:t>Mastertextformat bearbeiten</a:t>
            </a:r>
          </a:p>
          <a:p>
            <a:pPr lvl="1"/>
            <a:r>
              <a:rPr lang="de-DE" dirty="0"/>
              <a:t>Zweite Ebene</a:t>
            </a:r>
          </a:p>
        </p:txBody>
      </p:sp>
      <p:pic>
        <p:nvPicPr>
          <p:cNvPr id="6" name="Grafik 5">
            <a:extLst>
              <a:ext uri="{FF2B5EF4-FFF2-40B4-BE49-F238E27FC236}">
                <a16:creationId xmlns:a16="http://schemas.microsoft.com/office/drawing/2014/main" id="{D249C43C-F6FD-F04E-9994-3972E9A25A61}"/>
              </a:ext>
            </a:extLst>
          </p:cNvPr>
          <p:cNvPicPr>
            <a:picLocks noChangeAspect="1"/>
          </p:cNvPicPr>
          <p:nvPr userDrawn="1"/>
        </p:nvPicPr>
        <p:blipFill rotWithShape="1">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7625" t="22851" r="6862" b="24377"/>
          <a:stretch/>
        </p:blipFill>
        <p:spPr>
          <a:xfrm>
            <a:off x="7440686" y="314940"/>
            <a:ext cx="1382636" cy="479960"/>
          </a:xfrm>
          <a:prstGeom prst="rect">
            <a:avLst/>
          </a:prstGeom>
        </p:spPr>
      </p:pic>
    </p:spTree>
    <p:extLst>
      <p:ext uri="{BB962C8B-B14F-4D97-AF65-F5344CB8AC3E}">
        <p14:creationId xmlns:p14="http://schemas.microsoft.com/office/powerpoint/2010/main" val="4006219323"/>
      </p:ext>
    </p:extLst>
  </p:cSld>
  <p:clrMapOvr>
    <a:masterClrMapping/>
  </p:clrMapOvr>
  <p:transition spd="slow">
    <p:push/>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rbfläche und Bild">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AFBA1BF1-3918-48FE-9E8E-1904153DEFBB}"/>
              </a:ext>
            </a:extLst>
          </p:cNvPr>
          <p:cNvSpPr>
            <a:spLocks noGrp="1"/>
          </p:cNvSpPr>
          <p:nvPr>
            <p:ph type="pic" sz="quarter" idx="19"/>
          </p:nvPr>
        </p:nvSpPr>
        <p:spPr>
          <a:xfrm>
            <a:off x="3563938" y="0"/>
            <a:ext cx="5580062" cy="2574000"/>
          </a:xfrm>
          <a:prstGeom prst="rect">
            <a:avLst/>
          </a:prstGeom>
          <a:solidFill>
            <a:schemeClr val="accent6">
              <a:lumMod val="20000"/>
              <a:lumOff val="80000"/>
            </a:schemeClr>
          </a:solidFill>
        </p:spPr>
        <p:txBody>
          <a:bodyPr anchor="ctr"/>
          <a:lstStyle>
            <a:lvl1pPr algn="ctr">
              <a:defRPr>
                <a:latin typeface="Verdana" panose="020B0604030504040204" pitchFamily="34" charset="0"/>
                <a:ea typeface="Verdana" panose="020B0604030504040204" pitchFamily="34" charset="0"/>
              </a:defRPr>
            </a:lvl1pPr>
          </a:lstStyle>
          <a:p>
            <a:endParaRPr lang="de-DE" dirty="0"/>
          </a:p>
        </p:txBody>
      </p:sp>
      <p:sp>
        <p:nvSpPr>
          <p:cNvPr id="2" name="Rechteck 1">
            <a:extLst>
              <a:ext uri="{FF2B5EF4-FFF2-40B4-BE49-F238E27FC236}">
                <a16:creationId xmlns:a16="http://schemas.microsoft.com/office/drawing/2014/main" id="{F57A06A3-96EB-4B8F-9307-429F1D4B78A1}"/>
              </a:ext>
            </a:extLst>
          </p:cNvPr>
          <p:cNvSpPr/>
          <p:nvPr userDrawn="1"/>
        </p:nvSpPr>
        <p:spPr>
          <a:xfrm>
            <a:off x="-1" y="0"/>
            <a:ext cx="3564000" cy="5143500"/>
          </a:xfrm>
          <a:prstGeom prst="rect">
            <a:avLst/>
          </a:prstGeom>
          <a:solidFill>
            <a:srgbClr val="C00C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Verdana" panose="020B0604030504040204" pitchFamily="34" charset="0"/>
              <a:ea typeface="Verdana" panose="020B0604030504040204" pitchFamily="34" charset="0"/>
            </a:endParaRPr>
          </a:p>
        </p:txBody>
      </p:sp>
      <p:sp>
        <p:nvSpPr>
          <p:cNvPr id="14" name="Textfeld 13">
            <a:extLst>
              <a:ext uri="{FF2B5EF4-FFF2-40B4-BE49-F238E27FC236}">
                <a16:creationId xmlns:a16="http://schemas.microsoft.com/office/drawing/2014/main" id="{B40A77E8-93E1-490F-9196-C856EE896C86}"/>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Verdana" panose="020B0604030504040204" pitchFamily="34" charset="0"/>
                <a:ea typeface="Verdana" panose="020B0604030504040204" pitchFamily="34" charset="0"/>
                <a:cs typeface="Open Sans" panose="020B0606030504020204" pitchFamily="34" charset="0"/>
              </a:rPr>
              <a:t>confidential</a:t>
            </a:r>
          </a:p>
        </p:txBody>
      </p:sp>
      <p:sp>
        <p:nvSpPr>
          <p:cNvPr id="45" name="Textplatzhalter 6">
            <a:extLst>
              <a:ext uri="{FF2B5EF4-FFF2-40B4-BE49-F238E27FC236}">
                <a16:creationId xmlns:a16="http://schemas.microsoft.com/office/drawing/2014/main" id="{AAA67ED7-CCCC-43CA-9D20-FC2864D9873C}"/>
              </a:ext>
            </a:extLst>
          </p:cNvPr>
          <p:cNvSpPr>
            <a:spLocks noGrp="1"/>
          </p:cNvSpPr>
          <p:nvPr>
            <p:ph type="body" sz="quarter" idx="13"/>
          </p:nvPr>
        </p:nvSpPr>
        <p:spPr>
          <a:xfrm>
            <a:off x="358358" y="342258"/>
            <a:ext cx="2938458" cy="531499"/>
          </a:xfrm>
          <a:prstGeom prst="rect">
            <a:avLst/>
          </a:prstGeom>
        </p:spPr>
        <p:txBody>
          <a:bodyPr lIns="0" tIns="0" rIns="0" bIns="0" anchor="t"/>
          <a:lstStyle>
            <a:lvl1pPr marL="0" indent="0">
              <a:spcBef>
                <a:spcPts val="0"/>
              </a:spcBef>
              <a:spcAft>
                <a:spcPts val="0"/>
              </a:spcAft>
              <a:buFontTx/>
              <a:buNone/>
              <a:defRPr sz="2000" b="1">
                <a:solidFill>
                  <a:schemeClr val="tx1"/>
                </a:solidFill>
                <a:latin typeface="Verdana" panose="020B0604030504040204" pitchFamily="34" charset="0"/>
                <a:ea typeface="Verdana" panose="020B0604030504040204" pitchFamily="34" charset="0"/>
                <a:cs typeface="Open Sans" panose="020B0606030504020204" pitchFamily="34" charset="0"/>
              </a:defRPr>
            </a:lvl1pPr>
            <a:lvl2pPr marL="0" indent="0">
              <a:lnSpc>
                <a:spcPct val="125000"/>
              </a:lnSpc>
              <a:spcBef>
                <a:spcPts val="0"/>
              </a:spcBef>
              <a:buFontTx/>
              <a:buNone/>
              <a:defRPr sz="1300">
                <a:solidFill>
                  <a:schemeClr val="bg1"/>
                </a:solidFill>
                <a:latin typeface="Verdana" panose="020B0604030504040204" pitchFamily="34" charset="0"/>
                <a:ea typeface="Verdana" panose="020B0604030504040204" pitchFamily="34" charset="0"/>
                <a:cs typeface="Open Sans" panose="020B0606030504020204" pitchFamily="34" charset="0"/>
              </a:defRPr>
            </a:lvl2pPr>
          </a:lstStyle>
          <a:p>
            <a:pPr lvl="0"/>
            <a:r>
              <a:rPr lang="de-DE" dirty="0"/>
              <a:t>Mastertextformat bearbeiten</a:t>
            </a:r>
          </a:p>
          <a:p>
            <a:pPr lvl="1"/>
            <a:r>
              <a:rPr lang="de-DE" dirty="0"/>
              <a:t>Zweite Ebene</a:t>
            </a:r>
          </a:p>
        </p:txBody>
      </p:sp>
      <p:sp>
        <p:nvSpPr>
          <p:cNvPr id="46" name="Gleichschenkliges Dreieck 45">
            <a:extLst>
              <a:ext uri="{FF2B5EF4-FFF2-40B4-BE49-F238E27FC236}">
                <a16:creationId xmlns:a16="http://schemas.microsoft.com/office/drawing/2014/main" id="{3A629990-9155-4B04-8896-3412E3AF7B93}"/>
              </a:ext>
            </a:extLst>
          </p:cNvPr>
          <p:cNvSpPr/>
          <p:nvPr userDrawn="1"/>
        </p:nvSpPr>
        <p:spPr>
          <a:xfrm rot="5400000">
            <a:off x="-43607" y="416079"/>
            <a:ext cx="236438" cy="14922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Verdana" panose="020B0604030504040204" pitchFamily="34" charset="0"/>
              <a:ea typeface="Verdana" panose="020B0604030504040204" pitchFamily="34" charset="0"/>
            </a:endParaRPr>
          </a:p>
        </p:txBody>
      </p:sp>
      <p:sp>
        <p:nvSpPr>
          <p:cNvPr id="22" name="Textplatzhalter 3">
            <a:extLst>
              <a:ext uri="{FF2B5EF4-FFF2-40B4-BE49-F238E27FC236}">
                <a16:creationId xmlns:a16="http://schemas.microsoft.com/office/drawing/2014/main" id="{614E30A6-545C-EB4C-B5FF-4789AA232947}"/>
              </a:ext>
            </a:extLst>
          </p:cNvPr>
          <p:cNvSpPr>
            <a:spLocks noGrp="1"/>
          </p:cNvSpPr>
          <p:nvPr>
            <p:ph type="body" sz="quarter" idx="21"/>
          </p:nvPr>
        </p:nvSpPr>
        <p:spPr>
          <a:xfrm>
            <a:off x="357189" y="1328826"/>
            <a:ext cx="2842586" cy="3472416"/>
          </a:xfrm>
          <a:prstGeom prst="rect">
            <a:avLst/>
          </a:prstGeom>
        </p:spPr>
        <p:txBody>
          <a:bodyPr lIns="0" tIns="0" rIns="0" bIns="0"/>
          <a:lstStyle>
            <a:lvl1pPr>
              <a:spcBef>
                <a:spcPts val="0"/>
              </a:spcBef>
              <a:spcAft>
                <a:spcPts val="600"/>
              </a:spcAft>
              <a:defRPr sz="1200">
                <a:solidFill>
                  <a:schemeClr val="bg1"/>
                </a:solidFill>
                <a:latin typeface="Verdana" panose="020B0604030504040204" pitchFamily="34" charset="0"/>
                <a:ea typeface="Verdana" panose="020B0604030504040204" pitchFamily="34" charset="0"/>
              </a:defRPr>
            </a:lvl1pPr>
            <a:lvl2pPr marL="108000" indent="-108000">
              <a:spcBef>
                <a:spcPts val="100"/>
              </a:spcBef>
              <a:buClr>
                <a:schemeClr val="bg1"/>
              </a:buClr>
              <a:buSzPct val="100000"/>
              <a:buFont typeface="Wingdings" pitchFamily="2" charset="2"/>
              <a:buChar char="§"/>
              <a:defRPr sz="1200">
                <a:solidFill>
                  <a:schemeClr val="bg1"/>
                </a:solidFill>
                <a:latin typeface="Verdana" panose="020B0604030504040204" pitchFamily="34" charset="0"/>
                <a:ea typeface="Verdana" panose="020B0604030504040204" pitchFamily="34" charset="0"/>
              </a:defRPr>
            </a:lvl2pPr>
            <a:lvl3pPr marL="914378" indent="0">
              <a:buNone/>
              <a:defRPr/>
            </a:lvl3pPr>
          </a:lstStyle>
          <a:p>
            <a:pPr lvl="0"/>
            <a:r>
              <a:rPr lang="de-DE" dirty="0"/>
              <a:t>Mastertextformat bearbeiten</a:t>
            </a:r>
          </a:p>
          <a:p>
            <a:pPr lvl="1"/>
            <a:r>
              <a:rPr lang="de-DE" dirty="0"/>
              <a:t>Zweite Ebene</a:t>
            </a:r>
          </a:p>
        </p:txBody>
      </p:sp>
      <p:sp>
        <p:nvSpPr>
          <p:cNvPr id="23" name="Textplatzhalter 3">
            <a:extLst>
              <a:ext uri="{FF2B5EF4-FFF2-40B4-BE49-F238E27FC236}">
                <a16:creationId xmlns:a16="http://schemas.microsoft.com/office/drawing/2014/main" id="{BDFE925E-ACCC-8047-BE7A-57793DA30D19}"/>
              </a:ext>
            </a:extLst>
          </p:cNvPr>
          <p:cNvSpPr>
            <a:spLocks noGrp="1"/>
          </p:cNvSpPr>
          <p:nvPr>
            <p:ph type="body" sz="quarter" idx="22"/>
          </p:nvPr>
        </p:nvSpPr>
        <p:spPr>
          <a:xfrm>
            <a:off x="3921188" y="2903627"/>
            <a:ext cx="4863270" cy="1879557"/>
          </a:xfrm>
          <a:prstGeom prst="rect">
            <a:avLst/>
          </a:prstGeom>
        </p:spPr>
        <p:txBody>
          <a:bodyPr lIns="0" tIns="0" rIns="0" bIns="0"/>
          <a:lstStyle>
            <a:lvl1pPr>
              <a:spcBef>
                <a:spcPts val="0"/>
              </a:spcBef>
              <a:spcAft>
                <a:spcPts val="600"/>
              </a:spcAft>
              <a:defRPr sz="1200">
                <a:solidFill>
                  <a:schemeClr val="tx1"/>
                </a:solidFill>
                <a:latin typeface="Verdana" panose="020B0604030504040204" pitchFamily="34" charset="0"/>
                <a:ea typeface="Verdana" panose="020B0604030504040204" pitchFamily="34" charset="0"/>
              </a:defRPr>
            </a:lvl1pPr>
            <a:lvl2pPr marL="108000" indent="-108000">
              <a:spcBef>
                <a:spcPts val="100"/>
              </a:spcBef>
              <a:buClr>
                <a:srgbClr val="C00C0F"/>
              </a:buClr>
              <a:buSzPct val="100000"/>
              <a:buFont typeface="Wingdings" pitchFamily="2" charset="2"/>
              <a:buChar char="§"/>
              <a:defRPr sz="1200">
                <a:solidFill>
                  <a:schemeClr val="tx1"/>
                </a:solidFill>
                <a:latin typeface="Verdana" panose="020B0604030504040204" pitchFamily="34" charset="0"/>
                <a:ea typeface="Verdana" panose="020B0604030504040204" pitchFamily="34" charset="0"/>
              </a:defRPr>
            </a:lvl2pPr>
            <a:lvl3pPr marL="914378" indent="0">
              <a:buNone/>
              <a:defRPr/>
            </a:lvl3pPr>
          </a:lstStyle>
          <a:p>
            <a:pPr lvl="0"/>
            <a:r>
              <a:rPr lang="de-DE" dirty="0"/>
              <a:t>Mastertextformat bearbeiten</a:t>
            </a:r>
          </a:p>
          <a:p>
            <a:pPr lvl="1"/>
            <a:r>
              <a:rPr lang="de-DE" dirty="0"/>
              <a:t>Zweite Ebene</a:t>
            </a:r>
          </a:p>
        </p:txBody>
      </p:sp>
      <p:pic>
        <p:nvPicPr>
          <p:cNvPr id="3" name="Grafik 2">
            <a:extLst>
              <a:ext uri="{FF2B5EF4-FFF2-40B4-BE49-F238E27FC236}">
                <a16:creationId xmlns:a16="http://schemas.microsoft.com/office/drawing/2014/main" id="{BB41F42F-05D6-6CCF-DE3E-5AE326AA99B0}"/>
              </a:ext>
            </a:extLst>
          </p:cNvPr>
          <p:cNvPicPr>
            <a:picLocks noChangeAspect="1"/>
          </p:cNvPicPr>
          <p:nvPr userDrawn="1"/>
        </p:nvPicPr>
        <p:blipFill rotWithShape="1">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8225" t="23238" r="8170" b="26410"/>
          <a:stretch/>
        </p:blipFill>
        <p:spPr>
          <a:xfrm>
            <a:off x="7449937" y="328598"/>
            <a:ext cx="1349620" cy="457200"/>
          </a:xfrm>
          <a:prstGeom prst="rect">
            <a:avLst/>
          </a:prstGeom>
        </p:spPr>
      </p:pic>
    </p:spTree>
    <p:extLst>
      <p:ext uri="{BB962C8B-B14F-4D97-AF65-F5344CB8AC3E}">
        <p14:creationId xmlns:p14="http://schemas.microsoft.com/office/powerpoint/2010/main" val="563900448"/>
      </p:ext>
    </p:extLst>
  </p:cSld>
  <p:clrMapOvr>
    <a:masterClrMapping/>
  </p:clrMapOvr>
  <p:transition spd="slow">
    <p:push/>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eferenz">
    <p:spTree>
      <p:nvGrpSpPr>
        <p:cNvPr id="1" name=""/>
        <p:cNvGrpSpPr/>
        <p:nvPr/>
      </p:nvGrpSpPr>
      <p:grpSpPr>
        <a:xfrm>
          <a:off x="0" y="0"/>
          <a:ext cx="0" cy="0"/>
          <a:chOff x="0" y="0"/>
          <a:chExt cx="0" cy="0"/>
        </a:xfrm>
      </p:grpSpPr>
      <p:sp>
        <p:nvSpPr>
          <p:cNvPr id="16" name="Bildplatzhalter 2">
            <a:extLst>
              <a:ext uri="{FF2B5EF4-FFF2-40B4-BE49-F238E27FC236}">
                <a16:creationId xmlns:a16="http://schemas.microsoft.com/office/drawing/2014/main" id="{CDEF1F37-91FB-448C-929E-365EDD8F7869}"/>
              </a:ext>
            </a:extLst>
          </p:cNvPr>
          <p:cNvSpPr>
            <a:spLocks noGrp="1"/>
          </p:cNvSpPr>
          <p:nvPr>
            <p:ph type="pic" sz="quarter" idx="17"/>
          </p:nvPr>
        </p:nvSpPr>
        <p:spPr>
          <a:xfrm>
            <a:off x="5580000" y="0"/>
            <a:ext cx="3564000" cy="5143500"/>
          </a:xfrm>
          <a:prstGeom prst="rect">
            <a:avLst/>
          </a:prstGeom>
          <a:solidFill>
            <a:schemeClr val="accent6">
              <a:lumMod val="20000"/>
              <a:lumOff val="80000"/>
            </a:schemeClr>
          </a:solidFill>
          <a:effectLst/>
        </p:spPr>
        <p:txBody>
          <a:bodyPr anchor="ctr"/>
          <a:lstStyle>
            <a:lvl1pPr algn="ctr">
              <a:defRPr>
                <a:solidFill>
                  <a:srgbClr val="C00C0F"/>
                </a:solidFill>
                <a:latin typeface="Verdana" panose="020B0604030504040204" pitchFamily="34" charset="0"/>
                <a:ea typeface="Verdana" panose="020B0604030504040204" pitchFamily="34" charset="0"/>
              </a:defRPr>
            </a:lvl1pPr>
          </a:lstStyle>
          <a:p>
            <a:r>
              <a:rPr lang="de-DE" dirty="0"/>
              <a:t>Bild durch Klicken auf Symbol hinzufügen</a:t>
            </a:r>
          </a:p>
        </p:txBody>
      </p:sp>
      <p:sp>
        <p:nvSpPr>
          <p:cNvPr id="14" name="Textfeld 13">
            <a:extLst>
              <a:ext uri="{FF2B5EF4-FFF2-40B4-BE49-F238E27FC236}">
                <a16:creationId xmlns:a16="http://schemas.microsoft.com/office/drawing/2014/main" id="{B40A77E8-93E1-490F-9196-C856EE896C86}"/>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Verdana" panose="020B0604030504040204" pitchFamily="34" charset="0"/>
                <a:ea typeface="Verdana" panose="020B0604030504040204" pitchFamily="34" charset="0"/>
                <a:cs typeface="Open Sans" panose="020B0606030504020204" pitchFamily="34" charset="0"/>
              </a:rPr>
              <a:t>confidential</a:t>
            </a:r>
          </a:p>
        </p:txBody>
      </p:sp>
      <p:sp>
        <p:nvSpPr>
          <p:cNvPr id="46" name="Gleichschenkliges Dreieck 45">
            <a:extLst>
              <a:ext uri="{FF2B5EF4-FFF2-40B4-BE49-F238E27FC236}">
                <a16:creationId xmlns:a16="http://schemas.microsoft.com/office/drawing/2014/main" id="{3A629990-9155-4B04-8896-3412E3AF7B93}"/>
              </a:ext>
            </a:extLst>
          </p:cNvPr>
          <p:cNvSpPr/>
          <p:nvPr userDrawn="1"/>
        </p:nvSpPr>
        <p:spPr>
          <a:xfrm rot="5400000">
            <a:off x="-43607" y="416079"/>
            <a:ext cx="236438" cy="149225"/>
          </a:xfrm>
          <a:prstGeom prst="triangle">
            <a:avLst/>
          </a:prstGeom>
          <a:solidFill>
            <a:srgbClr val="C00C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Verdana" panose="020B0604030504040204" pitchFamily="34" charset="0"/>
              <a:ea typeface="Verdana" panose="020B0604030504040204" pitchFamily="34" charset="0"/>
            </a:endParaRPr>
          </a:p>
        </p:txBody>
      </p:sp>
      <p:sp>
        <p:nvSpPr>
          <p:cNvPr id="19" name="Textplatzhalter 6">
            <a:extLst>
              <a:ext uri="{FF2B5EF4-FFF2-40B4-BE49-F238E27FC236}">
                <a16:creationId xmlns:a16="http://schemas.microsoft.com/office/drawing/2014/main" id="{3927B10A-877A-4C78-BDF1-8D9D29AD4DDF}"/>
              </a:ext>
            </a:extLst>
          </p:cNvPr>
          <p:cNvSpPr>
            <a:spLocks noGrp="1"/>
          </p:cNvSpPr>
          <p:nvPr>
            <p:ph type="body" sz="quarter" idx="13"/>
          </p:nvPr>
        </p:nvSpPr>
        <p:spPr>
          <a:xfrm>
            <a:off x="358358" y="342258"/>
            <a:ext cx="4877434" cy="531499"/>
          </a:xfrm>
          <a:prstGeom prst="rect">
            <a:avLst/>
          </a:prstGeom>
        </p:spPr>
        <p:txBody>
          <a:bodyPr lIns="0" tIns="0" rIns="0" bIns="0" anchor="t"/>
          <a:lstStyle>
            <a:lvl1pPr marL="0" indent="0">
              <a:spcBef>
                <a:spcPts val="0"/>
              </a:spcBef>
              <a:spcAft>
                <a:spcPts val="0"/>
              </a:spcAft>
              <a:buFontTx/>
              <a:buNone/>
              <a:defRPr sz="2000" b="1">
                <a:solidFill>
                  <a:schemeClr val="tx1"/>
                </a:solidFill>
                <a:latin typeface="Verdana" panose="020B0604030504040204" pitchFamily="34" charset="0"/>
                <a:ea typeface="Verdana" panose="020B0604030504040204" pitchFamily="34" charset="0"/>
                <a:cs typeface="Open Sans" panose="020B0606030504020204" pitchFamily="34" charset="0"/>
              </a:defRPr>
            </a:lvl1pPr>
            <a:lvl2pPr marL="0" indent="0">
              <a:lnSpc>
                <a:spcPct val="125000"/>
              </a:lnSpc>
              <a:spcBef>
                <a:spcPts val="0"/>
              </a:spcBef>
              <a:buFontTx/>
              <a:buNone/>
              <a:defRPr sz="1300">
                <a:solidFill>
                  <a:schemeClr val="bg2"/>
                </a:solidFill>
                <a:latin typeface="Verdana" panose="020B0604030504040204" pitchFamily="34" charset="0"/>
                <a:ea typeface="Verdana" panose="020B0604030504040204" pitchFamily="34" charset="0"/>
                <a:cs typeface="Open Sans" panose="020B0606030504020204" pitchFamily="34" charset="0"/>
              </a:defRPr>
            </a:lvl2pPr>
          </a:lstStyle>
          <a:p>
            <a:pPr lvl="0"/>
            <a:r>
              <a:rPr lang="de-DE" dirty="0"/>
              <a:t>Mastertextformat bearbeiten</a:t>
            </a:r>
          </a:p>
          <a:p>
            <a:pPr lvl="1"/>
            <a:r>
              <a:rPr lang="de-DE" dirty="0"/>
              <a:t>Zweite Ebene</a:t>
            </a:r>
          </a:p>
        </p:txBody>
      </p:sp>
      <p:sp>
        <p:nvSpPr>
          <p:cNvPr id="18" name="Textplatzhalter 16">
            <a:extLst>
              <a:ext uri="{FF2B5EF4-FFF2-40B4-BE49-F238E27FC236}">
                <a16:creationId xmlns:a16="http://schemas.microsoft.com/office/drawing/2014/main" id="{1E0E7522-1DDB-E044-B71A-57B0C46809C0}"/>
              </a:ext>
            </a:extLst>
          </p:cNvPr>
          <p:cNvSpPr>
            <a:spLocks noGrp="1"/>
          </p:cNvSpPr>
          <p:nvPr>
            <p:ph type="body" sz="quarter" idx="19"/>
          </p:nvPr>
        </p:nvSpPr>
        <p:spPr>
          <a:xfrm>
            <a:off x="357188" y="1328272"/>
            <a:ext cx="4877434" cy="3454913"/>
          </a:xfrm>
          <a:prstGeom prst="rect">
            <a:avLst/>
          </a:prstGeom>
          <a:noFill/>
          <a:effectLst/>
        </p:spPr>
        <p:txBody>
          <a:bodyPr lIns="0" tIns="0" rIns="0" bIns="0"/>
          <a:lstStyle>
            <a:lvl1pPr>
              <a:spcBef>
                <a:spcPts val="0"/>
              </a:spcBef>
              <a:spcAft>
                <a:spcPts val="600"/>
              </a:spcAft>
              <a:defRPr sz="1200">
                <a:solidFill>
                  <a:srgbClr val="C00C0F"/>
                </a:solidFill>
                <a:latin typeface="Verdana" panose="020B0604030504040204" pitchFamily="34" charset="0"/>
                <a:ea typeface="Verdana" panose="020B0604030504040204" pitchFamily="34" charset="0"/>
              </a:defRPr>
            </a:lvl1pPr>
            <a:lvl2pPr marL="0" indent="0">
              <a:spcBef>
                <a:spcPts val="0"/>
              </a:spcBef>
              <a:buNone/>
              <a:defRPr sz="900">
                <a:solidFill>
                  <a:schemeClr val="tx1"/>
                </a:solidFill>
              </a:defRPr>
            </a:lvl2pPr>
            <a:lvl3pPr marL="108000" indent="-108000">
              <a:spcBef>
                <a:spcPts val="100"/>
              </a:spcBef>
              <a:spcAft>
                <a:spcPts val="0"/>
              </a:spcAft>
              <a:buClr>
                <a:srgbClr val="C00C0F"/>
              </a:buClr>
              <a:buSzPct val="100000"/>
              <a:buFont typeface="Wingdings" pitchFamily="2" charset="2"/>
              <a:buChar char="§"/>
              <a:defRPr lang="de-DE" sz="900" b="0" kern="1200" dirty="0" smtClean="0">
                <a:solidFill>
                  <a:schemeClr val="tx1"/>
                </a:solidFill>
                <a:latin typeface="Verdana" panose="020B0604030504040204" pitchFamily="34" charset="0"/>
                <a:ea typeface="Verdana" panose="020B0604030504040204" pitchFamily="34" charset="0"/>
                <a:cs typeface="+mn-cs"/>
              </a:defRPr>
            </a:lvl3pPr>
          </a:lstStyle>
          <a:p>
            <a:pPr lvl="0"/>
            <a:r>
              <a:rPr lang="de-DE" dirty="0"/>
              <a:t>Mastertextformat bearbeiten</a:t>
            </a:r>
          </a:p>
          <a:p>
            <a:pPr lvl="2"/>
            <a:r>
              <a:rPr lang="de-DE" dirty="0"/>
              <a:t>Zweite Ebene</a:t>
            </a:r>
          </a:p>
        </p:txBody>
      </p:sp>
      <p:sp>
        <p:nvSpPr>
          <p:cNvPr id="21" name="Freeform 5">
            <a:extLst>
              <a:ext uri="{FF2B5EF4-FFF2-40B4-BE49-F238E27FC236}">
                <a16:creationId xmlns:a16="http://schemas.microsoft.com/office/drawing/2014/main" id="{C64CF787-4E23-40BE-BD7E-26258067E107}"/>
              </a:ext>
            </a:extLst>
          </p:cNvPr>
          <p:cNvSpPr>
            <a:spLocks/>
          </p:cNvSpPr>
          <p:nvPr userDrawn="1"/>
        </p:nvSpPr>
        <p:spPr bwMode="auto">
          <a:xfrm>
            <a:off x="8934450" y="4814848"/>
            <a:ext cx="209550" cy="149225"/>
          </a:xfrm>
          <a:prstGeom prst="rect">
            <a:avLst/>
          </a:prstGeom>
          <a:solidFill>
            <a:srgbClr val="C00C0F"/>
          </a:solidFill>
          <a:ln>
            <a:noFill/>
          </a:ln>
        </p:spPr>
        <p:txBody>
          <a:bodyPr vert="horz" wrap="square" lIns="0" tIns="0" rIns="0" bIns="0" numCol="1" anchor="ctr" anchorCtr="0" compatLnSpc="1">
            <a:prstTxWarp prst="textNoShape">
              <a:avLst/>
            </a:prstTxWarp>
          </a:bodyPr>
          <a:lstStyle/>
          <a:p>
            <a:pPr algn="ctr"/>
            <a:fld id="{8F9773B6-8B82-4ECC-A544-4EC6B4C84943}" type="slidenum">
              <a:rPr lang="de-DE" sz="700" b="1" smtClean="0">
                <a:solidFill>
                  <a:schemeClr val="bg1"/>
                </a:solidFill>
                <a:latin typeface="Verdana" panose="020B0604030504040204" pitchFamily="34" charset="0"/>
                <a:ea typeface="Verdana" panose="020B0604030504040204" pitchFamily="34" charset="0"/>
                <a:cs typeface="Open Sans" panose="020B0606030504020204" pitchFamily="34" charset="0"/>
              </a:rPr>
              <a:t>‹#›</a:t>
            </a:fld>
            <a:endParaRPr lang="de-DE" sz="700" dirty="0">
              <a:latin typeface="Verdana" panose="020B0604030504040204" pitchFamily="34" charset="0"/>
              <a:ea typeface="Verdana" panose="020B0604030504040204" pitchFamily="34" charset="0"/>
            </a:endParaRPr>
          </a:p>
        </p:txBody>
      </p:sp>
      <p:pic>
        <p:nvPicPr>
          <p:cNvPr id="3" name="Grafik 2">
            <a:extLst>
              <a:ext uri="{FF2B5EF4-FFF2-40B4-BE49-F238E27FC236}">
                <a16:creationId xmlns:a16="http://schemas.microsoft.com/office/drawing/2014/main" id="{44FFCDC6-FFD4-B5C6-EC54-39C1AF4E6930}"/>
              </a:ext>
            </a:extLst>
          </p:cNvPr>
          <p:cNvPicPr>
            <a:picLocks noChangeAspect="1"/>
          </p:cNvPicPr>
          <p:nvPr userDrawn="1"/>
        </p:nvPicPr>
        <p:blipFill rotWithShape="1">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8225" t="23238" r="8170" b="26410"/>
          <a:stretch/>
        </p:blipFill>
        <p:spPr>
          <a:xfrm>
            <a:off x="7449937" y="328598"/>
            <a:ext cx="1349620" cy="457200"/>
          </a:xfrm>
          <a:prstGeom prst="rect">
            <a:avLst/>
          </a:prstGeom>
        </p:spPr>
      </p:pic>
    </p:spTree>
    <p:extLst>
      <p:ext uri="{BB962C8B-B14F-4D97-AF65-F5344CB8AC3E}">
        <p14:creationId xmlns:p14="http://schemas.microsoft.com/office/powerpoint/2010/main" val="3769512226"/>
      </p:ext>
    </p:extLst>
  </p:cSld>
  <p:clrMapOvr>
    <a:masterClrMapping/>
  </p:clrMapOvr>
  <p:transition spd="slow">
    <p:push/>
  </p:transition>
  <p:extLst>
    <p:ext uri="{DCECCB84-F9BA-43D5-87BE-67443E8EF086}">
      <p15:sldGuideLst xmlns:p15="http://schemas.microsoft.com/office/powerpoint/2012/main">
        <p15:guide id="1" orient="horz" pos="3026">
          <p15:clr>
            <a:srgbClr val="FBAE40"/>
          </p15:clr>
        </p15:guide>
        <p15:guide id="2" pos="28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
    <p:spTree>
      <p:nvGrpSpPr>
        <p:cNvPr id="1" name=""/>
        <p:cNvGrpSpPr/>
        <p:nvPr/>
      </p:nvGrpSpPr>
      <p:grpSpPr>
        <a:xfrm>
          <a:off x="0" y="0"/>
          <a:ext cx="0" cy="0"/>
          <a:chOff x="0" y="0"/>
          <a:chExt cx="0" cy="0"/>
        </a:xfrm>
      </p:grpSpPr>
      <p:sp>
        <p:nvSpPr>
          <p:cNvPr id="16" name="Bildplatzhalter 2">
            <a:extLst>
              <a:ext uri="{FF2B5EF4-FFF2-40B4-BE49-F238E27FC236}">
                <a16:creationId xmlns:a16="http://schemas.microsoft.com/office/drawing/2014/main" id="{CDEF1F37-91FB-448C-929E-365EDD8F7869}"/>
              </a:ext>
            </a:extLst>
          </p:cNvPr>
          <p:cNvSpPr>
            <a:spLocks noGrp="1"/>
          </p:cNvSpPr>
          <p:nvPr>
            <p:ph type="pic" sz="quarter" idx="17"/>
          </p:nvPr>
        </p:nvSpPr>
        <p:spPr>
          <a:xfrm>
            <a:off x="0" y="0"/>
            <a:ext cx="9143999" cy="5143500"/>
          </a:xfrm>
          <a:prstGeom prst="rect">
            <a:avLst/>
          </a:prstGeom>
          <a:solidFill>
            <a:schemeClr val="accent6">
              <a:lumMod val="20000"/>
              <a:lumOff val="80000"/>
            </a:schemeClr>
          </a:solidFill>
          <a:effectLst/>
        </p:spPr>
        <p:txBody>
          <a:bodyPr anchor="ctr"/>
          <a:lstStyle>
            <a:lvl1pPr algn="ctr">
              <a:defRPr>
                <a:solidFill>
                  <a:srgbClr val="C00C0F"/>
                </a:solidFill>
                <a:latin typeface="Verdana" panose="020B0604030504040204" pitchFamily="34" charset="0"/>
                <a:ea typeface="Verdana" panose="020B0604030504040204" pitchFamily="34" charset="0"/>
              </a:defRPr>
            </a:lvl1pPr>
          </a:lstStyle>
          <a:p>
            <a:r>
              <a:rPr lang="de-DE" dirty="0"/>
              <a:t>Bild durch Klicken auf Symbol hinzufügen</a:t>
            </a:r>
          </a:p>
        </p:txBody>
      </p:sp>
      <p:sp>
        <p:nvSpPr>
          <p:cNvPr id="12" name="Textplatzhalter 6">
            <a:extLst>
              <a:ext uri="{FF2B5EF4-FFF2-40B4-BE49-F238E27FC236}">
                <a16:creationId xmlns:a16="http://schemas.microsoft.com/office/drawing/2014/main" id="{996350CB-873C-4737-A57F-7C4391224BFF}"/>
              </a:ext>
            </a:extLst>
          </p:cNvPr>
          <p:cNvSpPr>
            <a:spLocks noGrp="1"/>
          </p:cNvSpPr>
          <p:nvPr>
            <p:ph type="body" sz="quarter" idx="13"/>
          </p:nvPr>
        </p:nvSpPr>
        <p:spPr>
          <a:xfrm>
            <a:off x="358358" y="2018672"/>
            <a:ext cx="5717654" cy="1106157"/>
          </a:xfrm>
          <a:prstGeom prst="rect">
            <a:avLst/>
          </a:prstGeom>
        </p:spPr>
        <p:txBody>
          <a:bodyPr lIns="0" tIns="0" rIns="0" bIns="0" anchor="t"/>
          <a:lstStyle>
            <a:lvl1pPr marL="0" indent="0">
              <a:spcBef>
                <a:spcPts val="0"/>
              </a:spcBef>
              <a:spcAft>
                <a:spcPts val="0"/>
              </a:spcAft>
              <a:buFontTx/>
              <a:buNone/>
              <a:defRPr sz="3600" b="1">
                <a:solidFill>
                  <a:schemeClr val="bg1"/>
                </a:solidFill>
                <a:latin typeface="Verdana" panose="020B0604030504040204" pitchFamily="34" charset="0"/>
                <a:ea typeface="Verdana" panose="020B0604030504040204" pitchFamily="34" charset="0"/>
                <a:cs typeface="Open Sans" panose="020B0606030504020204" pitchFamily="34" charset="0"/>
              </a:defRPr>
            </a:lvl1pPr>
            <a:lvl2pPr marL="0" indent="0">
              <a:lnSpc>
                <a:spcPct val="125000"/>
              </a:lnSpc>
              <a:spcBef>
                <a:spcPts val="0"/>
              </a:spcBef>
              <a:buFontTx/>
              <a:buNone/>
              <a:defRPr sz="1300">
                <a:solidFill>
                  <a:schemeClr val="bg2"/>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Mastertextformat bearbeiten</a:t>
            </a:r>
          </a:p>
        </p:txBody>
      </p:sp>
      <p:sp>
        <p:nvSpPr>
          <p:cNvPr id="20" name="Freeform 5">
            <a:extLst>
              <a:ext uri="{FF2B5EF4-FFF2-40B4-BE49-F238E27FC236}">
                <a16:creationId xmlns:a16="http://schemas.microsoft.com/office/drawing/2014/main" id="{33E7ABFA-30AC-454D-911B-D41B5F70E025}"/>
              </a:ext>
            </a:extLst>
          </p:cNvPr>
          <p:cNvSpPr>
            <a:spLocks/>
          </p:cNvSpPr>
          <p:nvPr userDrawn="1"/>
        </p:nvSpPr>
        <p:spPr bwMode="auto">
          <a:xfrm>
            <a:off x="8934450" y="4814848"/>
            <a:ext cx="209550" cy="149225"/>
          </a:xfrm>
          <a:prstGeom prst="rect">
            <a:avLst/>
          </a:prstGeom>
          <a:solidFill>
            <a:schemeClr val="accent1"/>
          </a:solidFill>
          <a:ln>
            <a:noFill/>
          </a:ln>
        </p:spPr>
        <p:txBody>
          <a:bodyPr vert="horz" wrap="square" lIns="0" tIns="0" rIns="0" bIns="0" numCol="1" anchor="ctr" anchorCtr="0" compatLnSpc="1">
            <a:prstTxWarp prst="textNoShape">
              <a:avLst/>
            </a:prstTxWarp>
          </a:bodyPr>
          <a:lstStyle/>
          <a:p>
            <a:pPr algn="ctr"/>
            <a:fld id="{8F9773B6-8B82-4ECC-A544-4EC6B4C84943}" type="slidenum">
              <a:rPr lang="de-DE" sz="700" b="1" smtClean="0">
                <a:solidFill>
                  <a:schemeClr val="bg1"/>
                </a:solidFill>
                <a:latin typeface="Verdana" panose="020B0604030504040204" pitchFamily="34" charset="0"/>
                <a:ea typeface="Verdana" panose="020B0604030504040204" pitchFamily="34" charset="0"/>
                <a:cs typeface="Open Sans" panose="020B0606030504020204" pitchFamily="34" charset="0"/>
              </a:rPr>
              <a:t>‹#›</a:t>
            </a:fld>
            <a:endParaRPr lang="de-DE" sz="700" dirty="0">
              <a:latin typeface="Verdana" panose="020B0604030504040204" pitchFamily="34" charset="0"/>
              <a:ea typeface="Verdana" panose="020B0604030504040204" pitchFamily="34" charset="0"/>
            </a:endParaRPr>
          </a:p>
        </p:txBody>
      </p:sp>
      <p:pic>
        <p:nvPicPr>
          <p:cNvPr id="3" name="Grafik 2">
            <a:extLst>
              <a:ext uri="{FF2B5EF4-FFF2-40B4-BE49-F238E27FC236}">
                <a16:creationId xmlns:a16="http://schemas.microsoft.com/office/drawing/2014/main" id="{07ADD38F-E36D-313A-A3AB-D1CBE2FE1A64}"/>
              </a:ext>
            </a:extLst>
          </p:cNvPr>
          <p:cNvPicPr>
            <a:picLocks noChangeAspect="1"/>
          </p:cNvPicPr>
          <p:nvPr userDrawn="1"/>
        </p:nvPicPr>
        <p:blipFill rotWithShape="1">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8225" t="23238" r="8170" b="26410"/>
          <a:stretch/>
        </p:blipFill>
        <p:spPr>
          <a:xfrm>
            <a:off x="7449937" y="328598"/>
            <a:ext cx="1349620" cy="457200"/>
          </a:xfrm>
          <a:prstGeom prst="rect">
            <a:avLst/>
          </a:prstGeom>
        </p:spPr>
      </p:pic>
    </p:spTree>
    <p:extLst>
      <p:ext uri="{BB962C8B-B14F-4D97-AF65-F5344CB8AC3E}">
        <p14:creationId xmlns:p14="http://schemas.microsoft.com/office/powerpoint/2010/main" val="2559951358"/>
      </p:ext>
    </p:extLst>
  </p:cSld>
  <p:clrMapOvr>
    <a:masterClrMapping/>
  </p:clrMapOvr>
  <p:transition spd="slow">
    <p:push/>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13" name="Textfeld 12">
            <a:extLst>
              <a:ext uri="{FF2B5EF4-FFF2-40B4-BE49-F238E27FC236}">
                <a16:creationId xmlns:a16="http://schemas.microsoft.com/office/drawing/2014/main" id="{EEFF0349-72E8-410A-8FD1-9F71B64FCF3D}"/>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pic>
        <p:nvPicPr>
          <p:cNvPr id="4" name="Grafik 3">
            <a:extLst>
              <a:ext uri="{FF2B5EF4-FFF2-40B4-BE49-F238E27FC236}">
                <a16:creationId xmlns:a16="http://schemas.microsoft.com/office/drawing/2014/main" id="{48BFC947-1094-540C-1191-3CCE7F40FD1B}"/>
              </a:ext>
            </a:extLst>
          </p:cNvPr>
          <p:cNvPicPr>
            <a:picLocks noChangeAspect="1"/>
          </p:cNvPicPr>
          <p:nvPr userDrawn="1"/>
        </p:nvPicPr>
        <p:blipFill rotWithShape="1">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7625" t="22851" r="6862" b="24377"/>
          <a:stretch/>
        </p:blipFill>
        <p:spPr>
          <a:xfrm>
            <a:off x="7440686" y="314940"/>
            <a:ext cx="1382636" cy="479960"/>
          </a:xfrm>
          <a:prstGeom prst="rect">
            <a:avLst/>
          </a:prstGeom>
        </p:spPr>
      </p:pic>
    </p:spTree>
    <p:extLst>
      <p:ext uri="{BB962C8B-B14F-4D97-AF65-F5344CB8AC3E}">
        <p14:creationId xmlns:p14="http://schemas.microsoft.com/office/powerpoint/2010/main" val="1067633813"/>
      </p:ext>
    </p:extLst>
  </p:cSld>
  <p:clrMapOvr>
    <a:masterClrMapping/>
  </p:clrMapOvr>
  <p:transition spd="slow">
    <p:push/>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pic>
        <p:nvPicPr>
          <p:cNvPr id="9" name="Grafik 8" descr="Ein Bild, das drinnen enthält.&#10;&#10;Automatisch generierte Beschreibung">
            <a:extLst>
              <a:ext uri="{FF2B5EF4-FFF2-40B4-BE49-F238E27FC236}">
                <a16:creationId xmlns:a16="http://schemas.microsoft.com/office/drawing/2014/main" id="{D861CB35-BB4B-4AF8-9B15-8FDA9D68C06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9143997" cy="5143500"/>
          </a:xfrm>
          <a:prstGeom prst="rect">
            <a:avLst/>
          </a:prstGeom>
        </p:spPr>
      </p:pic>
      <p:sp>
        <p:nvSpPr>
          <p:cNvPr id="3" name="Rechteck 2"/>
          <p:cNvSpPr/>
          <p:nvPr userDrawn="1"/>
        </p:nvSpPr>
        <p:spPr>
          <a:xfrm rot="10800000" flipV="1">
            <a:off x="-2" y="-4457"/>
            <a:ext cx="9143999" cy="5143724"/>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28" name="Gleichschenkliges Dreieck 25">
            <a:extLst>
              <a:ext uri="{FF2B5EF4-FFF2-40B4-BE49-F238E27FC236}">
                <a16:creationId xmlns:a16="http://schemas.microsoft.com/office/drawing/2014/main" id="{CE65301E-BC0E-5640-A595-8CCCFF596DED}"/>
              </a:ext>
            </a:extLst>
          </p:cNvPr>
          <p:cNvSpPr/>
          <p:nvPr userDrawn="1"/>
        </p:nvSpPr>
        <p:spPr>
          <a:xfrm rot="5400000">
            <a:off x="-43607" y="2339658"/>
            <a:ext cx="236438" cy="14922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9" name="Titel 1">
            <a:extLst>
              <a:ext uri="{FF2B5EF4-FFF2-40B4-BE49-F238E27FC236}">
                <a16:creationId xmlns:a16="http://schemas.microsoft.com/office/drawing/2014/main" id="{99EA941F-AAA4-9249-A1A3-A8BC8B3A5329}"/>
              </a:ext>
            </a:extLst>
          </p:cNvPr>
          <p:cNvSpPr>
            <a:spLocks noGrp="1"/>
          </p:cNvSpPr>
          <p:nvPr>
            <p:ph type="title"/>
          </p:nvPr>
        </p:nvSpPr>
        <p:spPr>
          <a:xfrm>
            <a:off x="360000" y="2137047"/>
            <a:ext cx="8106019" cy="553998"/>
          </a:xfrm>
          <a:prstGeom prst="rect">
            <a:avLst/>
          </a:prstGeom>
        </p:spPr>
        <p:txBody>
          <a:bodyPr lIns="0" tIns="0" rIns="0" bIns="0" anchor="t">
            <a:spAutoFit/>
          </a:bodyPr>
          <a:lstStyle>
            <a:lvl1pPr algn="l">
              <a:defRPr sz="3600" b="1">
                <a:solidFill>
                  <a:schemeClr val="bg1"/>
                </a:solidFill>
                <a:latin typeface="Verdana" panose="020B0604030504040204" pitchFamily="34" charset="0"/>
                <a:ea typeface="Verdana" panose="020B0604030504040204" pitchFamily="34" charset="0"/>
                <a:cs typeface="Open Sans" panose="020B0606030504020204" pitchFamily="34" charset="0"/>
              </a:defRPr>
            </a:lvl1pPr>
          </a:lstStyle>
          <a:p>
            <a:r>
              <a:rPr lang="de-DE" dirty="0"/>
              <a:t>Mastertitelformat bearbeiten</a:t>
            </a:r>
          </a:p>
        </p:txBody>
      </p:sp>
      <p:sp>
        <p:nvSpPr>
          <p:cNvPr id="2" name="Textfeld 1">
            <a:extLst>
              <a:ext uri="{FF2B5EF4-FFF2-40B4-BE49-F238E27FC236}">
                <a16:creationId xmlns:a16="http://schemas.microsoft.com/office/drawing/2014/main" id="{CA3CCA31-5E7E-5C42-8B7E-C5C6A0F4EFAF}"/>
              </a:ext>
            </a:extLst>
          </p:cNvPr>
          <p:cNvSpPr txBox="1"/>
          <p:nvPr userDrawn="1"/>
        </p:nvSpPr>
        <p:spPr>
          <a:xfrm>
            <a:off x="944033" y="1227667"/>
            <a:ext cx="0" cy="0"/>
          </a:xfrm>
          <a:prstGeom prst="rect">
            <a:avLst/>
          </a:prstGeom>
          <a:noFill/>
        </p:spPr>
        <p:txBody>
          <a:bodyPr vert="horz" wrap="none" rtlCol="0" anchor="t">
            <a:noAutofit/>
          </a:bodyPr>
          <a:lstStyle/>
          <a:p>
            <a:pPr algn="l" rtl="0" eaLnBrk="1" fontAlgn="auto" hangingPunct="1">
              <a:lnSpc>
                <a:spcPct val="100000"/>
              </a:lnSpc>
              <a:spcBef>
                <a:spcPts val="0"/>
              </a:spcBef>
              <a:spcAft>
                <a:spcPts val="0"/>
              </a:spcAft>
            </a:pPr>
            <a:endParaRPr lang="de-DE" sz="1100" b="0" i="0" u="none" baseline="0" dirty="0">
              <a:solidFill>
                <a:srgbClr val="646464"/>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fik 3">
            <a:extLst>
              <a:ext uri="{FF2B5EF4-FFF2-40B4-BE49-F238E27FC236}">
                <a16:creationId xmlns:a16="http://schemas.microsoft.com/office/drawing/2014/main" id="{4E7EE094-E5E3-9F3A-6754-86974260EA00}"/>
              </a:ext>
            </a:extLst>
          </p:cNvPr>
          <p:cNvPicPr>
            <a:picLocks noChangeAspect="1"/>
          </p:cNvPicPr>
          <p:nvPr userDrawn="1"/>
        </p:nvPicPr>
        <p:blipFill rotWithShape="1">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8225" t="23238" r="8170" b="26410"/>
          <a:stretch/>
        </p:blipFill>
        <p:spPr>
          <a:xfrm>
            <a:off x="7449937" y="328598"/>
            <a:ext cx="1349620" cy="457200"/>
          </a:xfrm>
          <a:prstGeom prst="rect">
            <a:avLst/>
          </a:prstGeom>
        </p:spPr>
      </p:pic>
    </p:spTree>
    <p:extLst>
      <p:ext uri="{BB962C8B-B14F-4D97-AF65-F5344CB8AC3E}">
        <p14:creationId xmlns:p14="http://schemas.microsoft.com/office/powerpoint/2010/main" val="3499936564"/>
      </p:ext>
    </p:extLst>
  </p:cSld>
  <p:clrMapOvr>
    <a:masterClrMapping/>
  </p:clrMapOvr>
  <p:transition spd="slow">
    <p:push/>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chlussfolie">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7B84E74B-2575-4E45-8FCA-3B589E54E797}"/>
              </a:ext>
            </a:extLst>
          </p:cNvPr>
          <p:cNvSpPr/>
          <p:nvPr userDrawn="1"/>
        </p:nvSpPr>
        <p:spPr>
          <a:xfrm>
            <a:off x="0" y="0"/>
            <a:ext cx="9144000" cy="5143500"/>
          </a:xfrm>
          <a:prstGeom prst="rect">
            <a:avLst/>
          </a:prstGeom>
          <a:solidFill>
            <a:srgbClr val="C00C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Verdana" panose="020B0604030504040204" pitchFamily="34" charset="0"/>
              <a:ea typeface="Verdana" panose="020B0604030504040204" pitchFamily="34" charset="0"/>
            </a:endParaRPr>
          </a:p>
        </p:txBody>
      </p:sp>
      <p:sp>
        <p:nvSpPr>
          <p:cNvPr id="10" name="Textplatzhalter 6"/>
          <p:cNvSpPr>
            <a:spLocks noGrp="1"/>
          </p:cNvSpPr>
          <p:nvPr>
            <p:ph type="body" sz="quarter" idx="12" hasCustomPrompt="1"/>
          </p:nvPr>
        </p:nvSpPr>
        <p:spPr>
          <a:xfrm>
            <a:off x="358357" y="1995603"/>
            <a:ext cx="4901064" cy="660010"/>
          </a:xfrm>
          <a:prstGeom prst="rect">
            <a:avLst/>
          </a:prstGeom>
        </p:spPr>
        <p:txBody>
          <a:bodyPr lIns="0" tIns="0" rIns="0" bIns="0" anchor="t"/>
          <a:lstStyle>
            <a:lvl1pPr marL="0" indent="0">
              <a:spcBef>
                <a:spcPts val="0"/>
              </a:spcBef>
              <a:spcAft>
                <a:spcPts val="0"/>
              </a:spcAft>
              <a:buFontTx/>
              <a:buNone/>
              <a:defRPr sz="4800" b="1">
                <a:solidFill>
                  <a:schemeClr val="tx1"/>
                </a:solidFill>
                <a:latin typeface="Verdana" panose="020B0604030504040204" pitchFamily="34" charset="0"/>
                <a:ea typeface="Verdana" panose="020B0604030504040204" pitchFamily="34" charset="0"/>
                <a:cs typeface="Open Sans" panose="020B0606030504020204" pitchFamily="34" charset="0"/>
              </a:defRPr>
            </a:lvl1pPr>
            <a:lvl2pPr marL="0" indent="0">
              <a:spcBef>
                <a:spcPts val="0"/>
              </a:spcBef>
              <a:buFontTx/>
              <a:buNone/>
              <a:defRPr sz="1400">
                <a:solidFill>
                  <a:schemeClr val="dk1"/>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Vielen Dank</a:t>
            </a:r>
          </a:p>
        </p:txBody>
      </p:sp>
      <p:sp>
        <p:nvSpPr>
          <p:cNvPr id="12" name="Textplatzhalter 6">
            <a:extLst>
              <a:ext uri="{FF2B5EF4-FFF2-40B4-BE49-F238E27FC236}">
                <a16:creationId xmlns:a16="http://schemas.microsoft.com/office/drawing/2014/main" id="{BFCADD24-3582-46A4-9F44-0D136BEE21C0}"/>
              </a:ext>
            </a:extLst>
          </p:cNvPr>
          <p:cNvSpPr>
            <a:spLocks noGrp="1"/>
          </p:cNvSpPr>
          <p:nvPr>
            <p:ph type="body" sz="quarter" idx="13" hasCustomPrompt="1"/>
          </p:nvPr>
        </p:nvSpPr>
        <p:spPr>
          <a:xfrm>
            <a:off x="378452" y="2716756"/>
            <a:ext cx="3786591" cy="330113"/>
          </a:xfrm>
          <a:prstGeom prst="rect">
            <a:avLst/>
          </a:prstGeom>
        </p:spPr>
        <p:txBody>
          <a:bodyPr lIns="0" tIns="0" rIns="0" bIns="0" anchor="t"/>
          <a:lstStyle>
            <a:lvl1pPr marL="0" indent="0">
              <a:spcBef>
                <a:spcPts val="0"/>
              </a:spcBef>
              <a:spcAft>
                <a:spcPts val="0"/>
              </a:spcAft>
              <a:buFontTx/>
              <a:buNone/>
              <a:defRPr sz="2250" b="1">
                <a:solidFill>
                  <a:schemeClr val="bg1"/>
                </a:solidFill>
                <a:latin typeface="Verdana" panose="020B0604030504040204" pitchFamily="34" charset="0"/>
                <a:ea typeface="Verdana" panose="020B0604030504040204" pitchFamily="34" charset="0"/>
                <a:cs typeface="Open Sans" panose="020B0606030504020204" pitchFamily="34" charset="0"/>
              </a:defRPr>
            </a:lvl1pPr>
            <a:lvl2pPr marL="0" indent="0">
              <a:spcBef>
                <a:spcPts val="0"/>
              </a:spcBef>
              <a:buFontTx/>
              <a:buNone/>
              <a:defRPr sz="1400">
                <a:solidFill>
                  <a:schemeClr val="dk1"/>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für Ihre Aufmerksamkeit!</a:t>
            </a:r>
          </a:p>
        </p:txBody>
      </p:sp>
      <p:sp>
        <p:nvSpPr>
          <p:cNvPr id="18" name="Gleichschenkliges Dreieck 17">
            <a:extLst>
              <a:ext uri="{FF2B5EF4-FFF2-40B4-BE49-F238E27FC236}">
                <a16:creationId xmlns:a16="http://schemas.microsoft.com/office/drawing/2014/main" id="{B05E960F-E751-48FA-94BA-CBEDEEB7B9DB}"/>
              </a:ext>
            </a:extLst>
          </p:cNvPr>
          <p:cNvSpPr/>
          <p:nvPr userDrawn="1"/>
        </p:nvSpPr>
        <p:spPr>
          <a:xfrm rot="5400000">
            <a:off x="-43607" y="2299018"/>
            <a:ext cx="236438" cy="14922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Verdana" panose="020B0604030504040204" pitchFamily="34" charset="0"/>
              <a:ea typeface="Verdana" panose="020B0604030504040204" pitchFamily="34" charset="0"/>
            </a:endParaRPr>
          </a:p>
        </p:txBody>
      </p:sp>
      <p:sp>
        <p:nvSpPr>
          <p:cNvPr id="19" name="Freeform 5">
            <a:extLst>
              <a:ext uri="{FF2B5EF4-FFF2-40B4-BE49-F238E27FC236}">
                <a16:creationId xmlns:a16="http://schemas.microsoft.com/office/drawing/2014/main" id="{5B1EBE37-C127-415E-A3A2-AE35F500BA4F}"/>
              </a:ext>
            </a:extLst>
          </p:cNvPr>
          <p:cNvSpPr>
            <a:spLocks/>
          </p:cNvSpPr>
          <p:nvPr userDrawn="1"/>
        </p:nvSpPr>
        <p:spPr bwMode="auto">
          <a:xfrm>
            <a:off x="8934450" y="4814848"/>
            <a:ext cx="209550" cy="149225"/>
          </a:xfrm>
          <a:prstGeom prst="rect">
            <a:avLst/>
          </a:prstGeom>
          <a:solidFill>
            <a:schemeClr val="bg1"/>
          </a:solidFill>
          <a:ln>
            <a:noFill/>
          </a:ln>
        </p:spPr>
        <p:txBody>
          <a:bodyPr vert="horz" wrap="square" lIns="0" tIns="0" rIns="0" bIns="0" numCol="1" anchor="ctr" anchorCtr="0" compatLnSpc="1">
            <a:prstTxWarp prst="textNoShape">
              <a:avLst/>
            </a:prstTxWarp>
          </a:bodyPr>
          <a:lstStyle/>
          <a:p>
            <a:pPr algn="ctr"/>
            <a:fld id="{8F9773B6-8B82-4ECC-A544-4EC6B4C84943}" type="slidenum">
              <a:rPr lang="de-DE" sz="700" b="1" smtClean="0">
                <a:solidFill>
                  <a:srgbClr val="C00C0F"/>
                </a:solidFill>
                <a:latin typeface="Verdana" panose="020B0604030504040204" pitchFamily="34" charset="0"/>
                <a:ea typeface="Verdana" panose="020B0604030504040204" pitchFamily="34" charset="0"/>
                <a:cs typeface="Open Sans" panose="020B0606030504020204" pitchFamily="34" charset="0"/>
              </a:rPr>
              <a:t>‹#›</a:t>
            </a:fld>
            <a:endParaRPr lang="de-DE" sz="700" dirty="0">
              <a:solidFill>
                <a:srgbClr val="C00C0F"/>
              </a:solidFill>
              <a:latin typeface="Verdana" panose="020B0604030504040204" pitchFamily="34" charset="0"/>
              <a:ea typeface="Verdana" panose="020B0604030504040204" pitchFamily="34" charset="0"/>
            </a:endParaRPr>
          </a:p>
        </p:txBody>
      </p:sp>
      <p:pic>
        <p:nvPicPr>
          <p:cNvPr id="4" name="Grafik 3">
            <a:extLst>
              <a:ext uri="{FF2B5EF4-FFF2-40B4-BE49-F238E27FC236}">
                <a16:creationId xmlns:a16="http://schemas.microsoft.com/office/drawing/2014/main" id="{F3B42175-941F-0311-06EF-191725EB5FC0}"/>
              </a:ext>
            </a:extLst>
          </p:cNvPr>
          <p:cNvPicPr>
            <a:picLocks noChangeAspect="1"/>
          </p:cNvPicPr>
          <p:nvPr userDrawn="1"/>
        </p:nvPicPr>
        <p:blipFill rotWithShape="1">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8225" t="23238" r="8170" b="26410"/>
          <a:stretch/>
        </p:blipFill>
        <p:spPr>
          <a:xfrm>
            <a:off x="7449937" y="328598"/>
            <a:ext cx="1349620" cy="457200"/>
          </a:xfrm>
          <a:prstGeom prst="rect">
            <a:avLst/>
          </a:prstGeom>
        </p:spPr>
      </p:pic>
    </p:spTree>
    <p:extLst>
      <p:ext uri="{BB962C8B-B14F-4D97-AF65-F5344CB8AC3E}">
        <p14:creationId xmlns:p14="http://schemas.microsoft.com/office/powerpoint/2010/main" val="2876078760"/>
      </p:ext>
    </p:extLst>
  </p:cSld>
  <p:clrMapOvr>
    <a:masterClrMapping/>
  </p:clrMapOvr>
  <p:transition spd="slow">
    <p:push/>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pic>
        <p:nvPicPr>
          <p:cNvPr id="10" name="Grafik 9" descr="Ein Bild, das Text enthält.&#10;&#10;Automatisch generierte Beschreibung">
            <a:extLst>
              <a:ext uri="{FF2B5EF4-FFF2-40B4-BE49-F238E27FC236}">
                <a16:creationId xmlns:a16="http://schemas.microsoft.com/office/drawing/2014/main" id="{782A89F2-1768-EE40-80E1-85DE40CCDFC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311648"/>
            <a:ext cx="9144000" cy="3836294"/>
          </a:xfrm>
          <a:prstGeom prst="rect">
            <a:avLst/>
          </a:prstGeom>
        </p:spPr>
      </p:pic>
      <p:sp>
        <p:nvSpPr>
          <p:cNvPr id="5" name="Rechteck 4">
            <a:extLst>
              <a:ext uri="{FF2B5EF4-FFF2-40B4-BE49-F238E27FC236}">
                <a16:creationId xmlns:a16="http://schemas.microsoft.com/office/drawing/2014/main" id="{5AB2D923-44B1-4175-9804-C589CE4C8864}"/>
              </a:ext>
            </a:extLst>
          </p:cNvPr>
          <p:cNvSpPr/>
          <p:nvPr userDrawn="1"/>
        </p:nvSpPr>
        <p:spPr>
          <a:xfrm>
            <a:off x="-1" y="1307206"/>
            <a:ext cx="9144001" cy="3836294"/>
          </a:xfrm>
          <a:prstGeom prst="rect">
            <a:avLst/>
          </a:prstGeom>
          <a:solidFill>
            <a:schemeClr val="accent3">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12" name="Textplatzhalter 6">
            <a:extLst>
              <a:ext uri="{FF2B5EF4-FFF2-40B4-BE49-F238E27FC236}">
                <a16:creationId xmlns:a16="http://schemas.microsoft.com/office/drawing/2014/main" id="{FAA424B3-3868-422E-B34D-09D868B63AE9}"/>
              </a:ext>
            </a:extLst>
          </p:cNvPr>
          <p:cNvSpPr>
            <a:spLocks noGrp="1"/>
          </p:cNvSpPr>
          <p:nvPr>
            <p:ph type="body" sz="quarter" idx="13" hasCustomPrompt="1"/>
          </p:nvPr>
        </p:nvSpPr>
        <p:spPr>
          <a:xfrm>
            <a:off x="358358" y="342258"/>
            <a:ext cx="6721230" cy="531499"/>
          </a:xfrm>
          <a:prstGeom prst="rect">
            <a:avLst/>
          </a:prstGeom>
        </p:spPr>
        <p:txBody>
          <a:bodyPr lIns="0" tIns="0" rIns="0" bIns="0" anchor="t"/>
          <a:lstStyle>
            <a:lvl1pPr marL="0" indent="0">
              <a:spcBef>
                <a:spcPts val="0"/>
              </a:spcBef>
              <a:spcAft>
                <a:spcPts val="0"/>
              </a:spcAft>
              <a:buFontTx/>
              <a:buNone/>
              <a:defRPr sz="2000" b="1">
                <a:solidFill>
                  <a:schemeClr val="tx1"/>
                </a:solidFill>
                <a:latin typeface="Verdana" panose="020B0604030504040204" pitchFamily="34" charset="0"/>
                <a:ea typeface="Verdana" panose="020B0604030504040204" pitchFamily="34" charset="0"/>
                <a:cs typeface="Open Sans" panose="020B0606030504020204" pitchFamily="34" charset="0"/>
              </a:defRPr>
            </a:lvl1pPr>
            <a:lvl2pPr marL="0" indent="0">
              <a:lnSpc>
                <a:spcPct val="125000"/>
              </a:lnSpc>
              <a:spcBef>
                <a:spcPts val="0"/>
              </a:spcBef>
              <a:buFontTx/>
              <a:buNone/>
              <a:defRPr sz="1300">
                <a:solidFill>
                  <a:schemeClr val="bg2"/>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err="1"/>
              <a:t>Kontact</a:t>
            </a:r>
            <a:endParaRPr lang="de-DE" dirty="0"/>
          </a:p>
        </p:txBody>
      </p:sp>
      <p:sp>
        <p:nvSpPr>
          <p:cNvPr id="13" name="Textfeld 12">
            <a:extLst>
              <a:ext uri="{FF2B5EF4-FFF2-40B4-BE49-F238E27FC236}">
                <a16:creationId xmlns:a16="http://schemas.microsoft.com/office/drawing/2014/main" id="{EEFF0349-72E8-410A-8FD1-9F71B64FCF3D}"/>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2" name="Gleichschenkliges Dreieck 1">
            <a:extLst>
              <a:ext uri="{FF2B5EF4-FFF2-40B4-BE49-F238E27FC236}">
                <a16:creationId xmlns:a16="http://schemas.microsoft.com/office/drawing/2014/main" id="{43297AE1-C164-40BF-9827-84324D69EB64}"/>
              </a:ext>
            </a:extLst>
          </p:cNvPr>
          <p:cNvSpPr/>
          <p:nvPr userDrawn="1"/>
        </p:nvSpPr>
        <p:spPr>
          <a:xfrm rot="5400000">
            <a:off x="-43607" y="416079"/>
            <a:ext cx="236438" cy="149225"/>
          </a:xfrm>
          <a:prstGeom prst="triangle">
            <a:avLst/>
          </a:prstGeom>
          <a:solidFill>
            <a:srgbClr val="C00C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6" name="Rechteck: obere Ecken abgerundet 5">
            <a:extLst>
              <a:ext uri="{FF2B5EF4-FFF2-40B4-BE49-F238E27FC236}">
                <a16:creationId xmlns:a16="http://schemas.microsoft.com/office/drawing/2014/main" id="{3D4CAD81-F847-449D-8B0E-A1E20B665B65}"/>
              </a:ext>
            </a:extLst>
          </p:cNvPr>
          <p:cNvSpPr/>
          <p:nvPr userDrawn="1"/>
        </p:nvSpPr>
        <p:spPr>
          <a:xfrm>
            <a:off x="358358" y="3586766"/>
            <a:ext cx="1985596" cy="1556734"/>
          </a:xfrm>
          <a:prstGeom prst="round2SameRect">
            <a:avLst>
              <a:gd name="adj1" fmla="val 5765"/>
              <a:gd name="adj2" fmla="val 0"/>
            </a:avLst>
          </a:prstGeom>
          <a:solidFill>
            <a:srgbClr val="C00C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31" name="Freeform 5">
            <a:extLst>
              <a:ext uri="{FF2B5EF4-FFF2-40B4-BE49-F238E27FC236}">
                <a16:creationId xmlns:a16="http://schemas.microsoft.com/office/drawing/2014/main" id="{73B7E587-6FF4-4395-91D7-0875F202D9B5}"/>
              </a:ext>
            </a:extLst>
          </p:cNvPr>
          <p:cNvSpPr>
            <a:spLocks/>
          </p:cNvSpPr>
          <p:nvPr userDrawn="1"/>
        </p:nvSpPr>
        <p:spPr bwMode="auto">
          <a:xfrm>
            <a:off x="8934450" y="4814848"/>
            <a:ext cx="209550" cy="149225"/>
          </a:xfrm>
          <a:prstGeom prst="rect">
            <a:avLst/>
          </a:prstGeom>
          <a:solidFill>
            <a:srgbClr val="C00C0F"/>
          </a:solidFill>
          <a:ln>
            <a:noFill/>
          </a:ln>
        </p:spPr>
        <p:txBody>
          <a:bodyPr vert="horz" wrap="square" lIns="0" tIns="0" rIns="0" bIns="0" numCol="1" anchor="ctr" anchorCtr="0" compatLnSpc="1">
            <a:prstTxWarp prst="textNoShape">
              <a:avLst/>
            </a:prstTxWarp>
          </a:bodyPr>
          <a:lstStyle/>
          <a:p>
            <a:pPr algn="ctr"/>
            <a:fld id="{8F9773B6-8B82-4ECC-A544-4EC6B4C84943}" type="slidenum">
              <a:rPr lang="de-DE" sz="700" b="1" smtClean="0">
                <a:solidFill>
                  <a:schemeClr val="bg1"/>
                </a:solidFill>
                <a:latin typeface="Open Sans" panose="020B0606030504020204" pitchFamily="34" charset="0"/>
                <a:ea typeface="Open Sans" panose="020B0606030504020204" pitchFamily="34" charset="0"/>
                <a:cs typeface="Open Sans" panose="020B0606030504020204" pitchFamily="34" charset="0"/>
              </a:rPr>
              <a:t>‹#›</a:t>
            </a:fld>
            <a:endParaRPr lang="de-DE" sz="700" dirty="0"/>
          </a:p>
        </p:txBody>
      </p:sp>
      <p:pic>
        <p:nvPicPr>
          <p:cNvPr id="7" name="Grafik 6">
            <a:extLst>
              <a:ext uri="{FF2B5EF4-FFF2-40B4-BE49-F238E27FC236}">
                <a16:creationId xmlns:a16="http://schemas.microsoft.com/office/drawing/2014/main" id="{3F592DB9-3034-43E8-4A31-287B8E0AD40E}"/>
              </a:ext>
            </a:extLst>
          </p:cNvPr>
          <p:cNvPicPr>
            <a:picLocks noChangeAspect="1"/>
          </p:cNvPicPr>
          <p:nvPr userDrawn="1"/>
        </p:nvPicPr>
        <p:blipFill rotWithShape="1">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7625" t="22851" r="6862" b="24377"/>
          <a:stretch/>
        </p:blipFill>
        <p:spPr>
          <a:xfrm>
            <a:off x="7440686" y="314940"/>
            <a:ext cx="1382636" cy="479960"/>
          </a:xfrm>
          <a:prstGeom prst="rect">
            <a:avLst/>
          </a:prstGeom>
        </p:spPr>
      </p:pic>
    </p:spTree>
    <p:extLst>
      <p:ext uri="{BB962C8B-B14F-4D97-AF65-F5344CB8AC3E}">
        <p14:creationId xmlns:p14="http://schemas.microsoft.com/office/powerpoint/2010/main" val="3055455048"/>
      </p:ext>
    </p:extLst>
  </p:cSld>
  <p:clrMapOvr>
    <a:masterClrMapping/>
  </p:clrMapOvr>
  <p:transition spd="slow">
    <p:push/>
  </p:transition>
  <p:extLst>
    <p:ext uri="{DCECCB84-F9BA-43D5-87BE-67443E8EF086}">
      <p15:sldGuideLst xmlns:p15="http://schemas.microsoft.com/office/powerpoint/2012/main">
        <p15:guide id="1" orient="horz" pos="207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Kapitel">
    <p:spTree>
      <p:nvGrpSpPr>
        <p:cNvPr id="1" name=""/>
        <p:cNvGrpSpPr/>
        <p:nvPr/>
      </p:nvGrpSpPr>
      <p:grpSpPr>
        <a:xfrm>
          <a:off x="0" y="0"/>
          <a:ext cx="0" cy="0"/>
          <a:chOff x="0" y="0"/>
          <a:chExt cx="0" cy="0"/>
        </a:xfrm>
      </p:grpSpPr>
      <p:sp>
        <p:nvSpPr>
          <p:cNvPr id="10" name="Textplatzhalter 6"/>
          <p:cNvSpPr>
            <a:spLocks noGrp="1"/>
          </p:cNvSpPr>
          <p:nvPr>
            <p:ph type="body" sz="quarter" idx="12" hasCustomPrompt="1"/>
          </p:nvPr>
        </p:nvSpPr>
        <p:spPr>
          <a:xfrm>
            <a:off x="358357" y="1995603"/>
            <a:ext cx="851878" cy="756054"/>
          </a:xfrm>
          <a:prstGeom prst="rect">
            <a:avLst/>
          </a:prstGeom>
        </p:spPr>
        <p:txBody>
          <a:bodyPr lIns="0" tIns="0" bIns="0" anchor="t"/>
          <a:lstStyle>
            <a:lvl1pPr marL="0" indent="0">
              <a:spcBef>
                <a:spcPts val="0"/>
              </a:spcBef>
              <a:spcAft>
                <a:spcPts val="0"/>
              </a:spcAft>
              <a:buFontTx/>
              <a:buNone/>
              <a:defRPr sz="4000" b="1">
                <a:solidFill>
                  <a:srgbClr val="C00C0F"/>
                </a:solidFill>
                <a:latin typeface="Verdana" panose="020B0604030504040204" pitchFamily="34" charset="0"/>
                <a:ea typeface="Verdana" panose="020B0604030504040204" pitchFamily="34" charset="0"/>
                <a:cs typeface="Open Sans" panose="020B0606030504020204" pitchFamily="34" charset="0"/>
              </a:defRPr>
            </a:lvl1pPr>
            <a:lvl2pPr marL="0" indent="0">
              <a:spcBef>
                <a:spcPts val="0"/>
              </a:spcBef>
              <a:buFontTx/>
              <a:buNone/>
              <a:defRPr sz="1400">
                <a:solidFill>
                  <a:schemeClr val="dk1"/>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01</a:t>
            </a:r>
          </a:p>
        </p:txBody>
      </p:sp>
      <p:sp>
        <p:nvSpPr>
          <p:cNvPr id="12" name="Textplatzhalter 6">
            <a:extLst>
              <a:ext uri="{FF2B5EF4-FFF2-40B4-BE49-F238E27FC236}">
                <a16:creationId xmlns:a16="http://schemas.microsoft.com/office/drawing/2014/main" id="{BFCADD24-3582-46A4-9F44-0D136BEE21C0}"/>
              </a:ext>
            </a:extLst>
          </p:cNvPr>
          <p:cNvSpPr>
            <a:spLocks noGrp="1"/>
          </p:cNvSpPr>
          <p:nvPr>
            <p:ph type="body" sz="quarter" idx="13"/>
          </p:nvPr>
        </p:nvSpPr>
        <p:spPr>
          <a:xfrm>
            <a:off x="1210235" y="2208574"/>
            <a:ext cx="6255570" cy="330113"/>
          </a:xfrm>
          <a:prstGeom prst="rect">
            <a:avLst/>
          </a:prstGeom>
        </p:spPr>
        <p:txBody>
          <a:bodyPr lIns="0" tIns="0" bIns="0" anchor="t"/>
          <a:lstStyle>
            <a:lvl1pPr marL="0" indent="0">
              <a:spcBef>
                <a:spcPts val="0"/>
              </a:spcBef>
              <a:spcAft>
                <a:spcPts val="0"/>
              </a:spcAft>
              <a:buFontTx/>
              <a:buNone/>
              <a:defRPr sz="2000" b="1">
                <a:solidFill>
                  <a:schemeClr val="tx1"/>
                </a:solidFill>
                <a:latin typeface="Verdana" panose="020B0604030504040204" pitchFamily="34" charset="0"/>
                <a:ea typeface="Verdana" panose="020B0604030504040204" pitchFamily="34" charset="0"/>
                <a:cs typeface="Open Sans" panose="020B0606030504020204" pitchFamily="34" charset="0"/>
              </a:defRPr>
            </a:lvl1pPr>
            <a:lvl2pPr marL="0" indent="0">
              <a:spcBef>
                <a:spcPts val="0"/>
              </a:spcBef>
              <a:buFontTx/>
              <a:buNone/>
              <a:defRPr sz="1400">
                <a:solidFill>
                  <a:schemeClr val="dk1"/>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Mastertextformat bearbeiten</a:t>
            </a:r>
          </a:p>
        </p:txBody>
      </p:sp>
      <p:sp>
        <p:nvSpPr>
          <p:cNvPr id="17" name="Gleichschenkliges Dreieck 16">
            <a:extLst>
              <a:ext uri="{FF2B5EF4-FFF2-40B4-BE49-F238E27FC236}">
                <a16:creationId xmlns:a16="http://schemas.microsoft.com/office/drawing/2014/main" id="{B6AC10FB-DFE3-4830-849F-39B9387376E0}"/>
              </a:ext>
            </a:extLst>
          </p:cNvPr>
          <p:cNvSpPr/>
          <p:nvPr userDrawn="1"/>
        </p:nvSpPr>
        <p:spPr>
          <a:xfrm rot="5400000">
            <a:off x="-43607" y="2299018"/>
            <a:ext cx="236438" cy="149225"/>
          </a:xfrm>
          <a:prstGeom prst="triangle">
            <a:avLst/>
          </a:prstGeom>
          <a:solidFill>
            <a:srgbClr val="C00C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Verdana" panose="020B0604030504040204" pitchFamily="34" charset="0"/>
              <a:ea typeface="Verdana" panose="020B0604030504040204" pitchFamily="34" charset="0"/>
            </a:endParaRPr>
          </a:p>
        </p:txBody>
      </p:sp>
      <p:pic>
        <p:nvPicPr>
          <p:cNvPr id="4" name="Grafik 3">
            <a:extLst>
              <a:ext uri="{FF2B5EF4-FFF2-40B4-BE49-F238E27FC236}">
                <a16:creationId xmlns:a16="http://schemas.microsoft.com/office/drawing/2014/main" id="{42B5FB5D-A8D3-91F8-8157-950776F20F16}"/>
              </a:ext>
            </a:extLst>
          </p:cNvPr>
          <p:cNvPicPr>
            <a:picLocks noChangeAspect="1"/>
          </p:cNvPicPr>
          <p:nvPr userDrawn="1"/>
        </p:nvPicPr>
        <p:blipFill rotWithShape="1">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7625" t="22851" r="6862" b="24377"/>
          <a:stretch/>
        </p:blipFill>
        <p:spPr>
          <a:xfrm>
            <a:off x="7440686" y="314940"/>
            <a:ext cx="1382636" cy="479960"/>
          </a:xfrm>
          <a:prstGeom prst="rect">
            <a:avLst/>
          </a:prstGeom>
        </p:spPr>
      </p:pic>
    </p:spTree>
    <p:extLst>
      <p:ext uri="{BB962C8B-B14F-4D97-AF65-F5344CB8AC3E}">
        <p14:creationId xmlns:p14="http://schemas.microsoft.com/office/powerpoint/2010/main" val="2949478763"/>
      </p:ext>
    </p:extLst>
  </p:cSld>
  <p:clrMapOvr>
    <a:masterClrMapping/>
  </p:clrMapOvr>
  <p:transition spd="slow">
    <p:push/>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mpower Agenda">
    <p:spTree>
      <p:nvGrpSpPr>
        <p:cNvPr id="1" name=""/>
        <p:cNvGrpSpPr/>
        <p:nvPr/>
      </p:nvGrpSpPr>
      <p:grpSpPr>
        <a:xfrm>
          <a:off x="0" y="0"/>
          <a:ext cx="0" cy="0"/>
          <a:chOff x="0" y="0"/>
          <a:chExt cx="0" cy="0"/>
        </a:xfrm>
      </p:grpSpPr>
      <p:sp>
        <p:nvSpPr>
          <p:cNvPr id="13" name="Textfeld 12">
            <a:extLst>
              <a:ext uri="{FF2B5EF4-FFF2-40B4-BE49-F238E27FC236}">
                <a16:creationId xmlns:a16="http://schemas.microsoft.com/office/drawing/2014/main" id="{EEFF0349-72E8-410A-8FD1-9F71B64FCF3D}"/>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pic>
        <p:nvPicPr>
          <p:cNvPr id="4" name="Grafik 3">
            <a:extLst>
              <a:ext uri="{FF2B5EF4-FFF2-40B4-BE49-F238E27FC236}">
                <a16:creationId xmlns:a16="http://schemas.microsoft.com/office/drawing/2014/main" id="{D59BE612-19D6-F7A6-F42D-C3B374000CB7}"/>
              </a:ext>
            </a:extLst>
          </p:cNvPr>
          <p:cNvPicPr>
            <a:picLocks noChangeAspect="1"/>
          </p:cNvPicPr>
          <p:nvPr userDrawn="1"/>
        </p:nvPicPr>
        <p:blipFill rotWithShape="1">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7625" t="22851" r="6862" b="24377"/>
          <a:stretch/>
        </p:blipFill>
        <p:spPr>
          <a:xfrm>
            <a:off x="7440686" y="314940"/>
            <a:ext cx="1382636" cy="479960"/>
          </a:xfrm>
          <a:prstGeom prst="rect">
            <a:avLst/>
          </a:prstGeom>
        </p:spPr>
      </p:pic>
    </p:spTree>
    <p:extLst>
      <p:ext uri="{BB962C8B-B14F-4D97-AF65-F5344CB8AC3E}">
        <p14:creationId xmlns:p14="http://schemas.microsoft.com/office/powerpoint/2010/main" val="2933208304"/>
      </p:ext>
    </p:extLst>
  </p:cSld>
  <p:clrMapOvr>
    <a:masterClrMapping/>
  </p:clrMapOvr>
  <p:transition spd="slow">
    <p:push/>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elfolie">
    <p:spTree>
      <p:nvGrpSpPr>
        <p:cNvPr id="1" name=""/>
        <p:cNvGrpSpPr/>
        <p:nvPr/>
      </p:nvGrpSpPr>
      <p:grpSpPr>
        <a:xfrm>
          <a:off x="0" y="0"/>
          <a:ext cx="0" cy="0"/>
          <a:chOff x="0" y="0"/>
          <a:chExt cx="0" cy="0"/>
        </a:xfrm>
      </p:grpSpPr>
      <p:pic>
        <p:nvPicPr>
          <p:cNvPr id="9" name="Grafik 8" descr="Ein Bild, das Text, drinnen, Boden enthält.&#10;&#10;Automatisch generierte Beschreibung">
            <a:extLst>
              <a:ext uri="{FF2B5EF4-FFF2-40B4-BE49-F238E27FC236}">
                <a16:creationId xmlns:a16="http://schemas.microsoft.com/office/drawing/2014/main" id="{4F8F21EF-F180-4831-85EA-9A6D6227ED6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44000" cy="5143501"/>
          </a:xfrm>
          <a:prstGeom prst="rect">
            <a:avLst/>
          </a:prstGeom>
        </p:spPr>
      </p:pic>
      <p:sp>
        <p:nvSpPr>
          <p:cNvPr id="3" name="Rechteck 2"/>
          <p:cNvSpPr/>
          <p:nvPr userDrawn="1"/>
        </p:nvSpPr>
        <p:spPr>
          <a:xfrm rot="10800000" flipV="1">
            <a:off x="-2" y="-224"/>
            <a:ext cx="9144000" cy="5143724"/>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28" name="Gleichschenkliges Dreieck 25">
            <a:extLst>
              <a:ext uri="{FF2B5EF4-FFF2-40B4-BE49-F238E27FC236}">
                <a16:creationId xmlns:a16="http://schemas.microsoft.com/office/drawing/2014/main" id="{CE65301E-BC0E-5640-A595-8CCCFF596DED}"/>
              </a:ext>
            </a:extLst>
          </p:cNvPr>
          <p:cNvSpPr/>
          <p:nvPr userDrawn="1"/>
        </p:nvSpPr>
        <p:spPr>
          <a:xfrm rot="5400000">
            <a:off x="-43607" y="2339658"/>
            <a:ext cx="236438" cy="14922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9" name="Titel 1">
            <a:extLst>
              <a:ext uri="{FF2B5EF4-FFF2-40B4-BE49-F238E27FC236}">
                <a16:creationId xmlns:a16="http://schemas.microsoft.com/office/drawing/2014/main" id="{99EA941F-AAA4-9249-A1A3-A8BC8B3A5329}"/>
              </a:ext>
            </a:extLst>
          </p:cNvPr>
          <p:cNvSpPr>
            <a:spLocks noGrp="1"/>
          </p:cNvSpPr>
          <p:nvPr>
            <p:ph type="title"/>
          </p:nvPr>
        </p:nvSpPr>
        <p:spPr>
          <a:xfrm>
            <a:off x="360000" y="2137047"/>
            <a:ext cx="8106019" cy="553998"/>
          </a:xfrm>
          <a:prstGeom prst="rect">
            <a:avLst/>
          </a:prstGeom>
        </p:spPr>
        <p:txBody>
          <a:bodyPr lIns="0" tIns="0" rIns="0" bIns="0" anchor="t">
            <a:spAutoFit/>
          </a:bodyPr>
          <a:lstStyle>
            <a:lvl1pPr algn="l">
              <a:defRPr sz="3600" b="1">
                <a:solidFill>
                  <a:schemeClr val="bg1"/>
                </a:solidFill>
                <a:latin typeface="Verdana" panose="020B0604030504040204" pitchFamily="34" charset="0"/>
                <a:ea typeface="Verdana" panose="020B0604030504040204" pitchFamily="34" charset="0"/>
                <a:cs typeface="Open Sans" panose="020B0606030504020204" pitchFamily="34" charset="0"/>
              </a:defRPr>
            </a:lvl1pPr>
          </a:lstStyle>
          <a:p>
            <a:r>
              <a:rPr lang="de-DE" dirty="0"/>
              <a:t>Mastertitelformat bearbeiten</a:t>
            </a:r>
          </a:p>
        </p:txBody>
      </p:sp>
      <p:sp>
        <p:nvSpPr>
          <p:cNvPr id="2" name="Textfeld 1">
            <a:extLst>
              <a:ext uri="{FF2B5EF4-FFF2-40B4-BE49-F238E27FC236}">
                <a16:creationId xmlns:a16="http://schemas.microsoft.com/office/drawing/2014/main" id="{CA3CCA31-5E7E-5C42-8B7E-C5C6A0F4EFAF}"/>
              </a:ext>
            </a:extLst>
          </p:cNvPr>
          <p:cNvSpPr txBox="1"/>
          <p:nvPr userDrawn="1"/>
        </p:nvSpPr>
        <p:spPr>
          <a:xfrm>
            <a:off x="944033" y="1227667"/>
            <a:ext cx="0" cy="0"/>
          </a:xfrm>
          <a:prstGeom prst="rect">
            <a:avLst/>
          </a:prstGeom>
          <a:noFill/>
        </p:spPr>
        <p:txBody>
          <a:bodyPr vert="horz" wrap="none" rtlCol="0" anchor="t">
            <a:noAutofit/>
          </a:bodyPr>
          <a:lstStyle/>
          <a:p>
            <a:pPr algn="l" rtl="0" eaLnBrk="1" fontAlgn="auto" hangingPunct="1">
              <a:lnSpc>
                <a:spcPct val="100000"/>
              </a:lnSpc>
              <a:spcBef>
                <a:spcPts val="0"/>
              </a:spcBef>
              <a:spcAft>
                <a:spcPts val="0"/>
              </a:spcAft>
            </a:pPr>
            <a:endParaRPr lang="de-DE" sz="1100" b="0" i="0" u="none" baseline="0" dirty="0">
              <a:solidFill>
                <a:srgbClr val="646464"/>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fik 3">
            <a:extLst>
              <a:ext uri="{FF2B5EF4-FFF2-40B4-BE49-F238E27FC236}">
                <a16:creationId xmlns:a16="http://schemas.microsoft.com/office/drawing/2014/main" id="{FF4CBFC1-E264-9E95-A5B1-5D1FBAF91B82}"/>
              </a:ext>
            </a:extLst>
          </p:cNvPr>
          <p:cNvPicPr>
            <a:picLocks noChangeAspect="1"/>
          </p:cNvPicPr>
          <p:nvPr userDrawn="1"/>
        </p:nvPicPr>
        <p:blipFill rotWithShape="1">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8225" t="23238" r="8170" b="26410"/>
          <a:stretch/>
        </p:blipFill>
        <p:spPr>
          <a:xfrm>
            <a:off x="7449937" y="328598"/>
            <a:ext cx="1349620" cy="457200"/>
          </a:xfrm>
          <a:prstGeom prst="rect">
            <a:avLst/>
          </a:prstGeom>
        </p:spPr>
      </p:pic>
    </p:spTree>
    <p:extLst>
      <p:ext uri="{BB962C8B-B14F-4D97-AF65-F5344CB8AC3E}">
        <p14:creationId xmlns:p14="http://schemas.microsoft.com/office/powerpoint/2010/main" val="1489983846"/>
      </p:ext>
    </p:extLst>
  </p:cSld>
  <p:clrMapOvr>
    <a:masterClrMapping/>
  </p:clrMapOvr>
  <p:transition spd="slow">
    <p:push/>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elfolie">
    <p:spTree>
      <p:nvGrpSpPr>
        <p:cNvPr id="1" name=""/>
        <p:cNvGrpSpPr/>
        <p:nvPr/>
      </p:nvGrpSpPr>
      <p:grpSpPr>
        <a:xfrm>
          <a:off x="0" y="0"/>
          <a:ext cx="0" cy="0"/>
          <a:chOff x="0" y="0"/>
          <a:chExt cx="0" cy="0"/>
        </a:xfrm>
      </p:grpSpPr>
      <p:pic>
        <p:nvPicPr>
          <p:cNvPr id="8" name="Grafik 7" descr="Ein Bild, das schwimmend, Kunststoff enthält.&#10;&#10;Automatisch generierte Beschreibung">
            <a:extLst>
              <a:ext uri="{FF2B5EF4-FFF2-40B4-BE49-F238E27FC236}">
                <a16:creationId xmlns:a16="http://schemas.microsoft.com/office/drawing/2014/main" id="{1794C71E-024E-471D-AE2B-61F6A8A7765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2283"/>
            <a:ext cx="9144001" cy="5141217"/>
          </a:xfrm>
          <a:prstGeom prst="rect">
            <a:avLst/>
          </a:prstGeom>
        </p:spPr>
      </p:pic>
      <p:sp>
        <p:nvSpPr>
          <p:cNvPr id="3" name="Rechteck 2"/>
          <p:cNvSpPr/>
          <p:nvPr userDrawn="1"/>
        </p:nvSpPr>
        <p:spPr>
          <a:xfrm rot="10800000" flipV="1">
            <a:off x="0" y="-224"/>
            <a:ext cx="9143996" cy="5143724"/>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28" name="Gleichschenkliges Dreieck 25">
            <a:extLst>
              <a:ext uri="{FF2B5EF4-FFF2-40B4-BE49-F238E27FC236}">
                <a16:creationId xmlns:a16="http://schemas.microsoft.com/office/drawing/2014/main" id="{CE65301E-BC0E-5640-A595-8CCCFF596DED}"/>
              </a:ext>
            </a:extLst>
          </p:cNvPr>
          <p:cNvSpPr/>
          <p:nvPr userDrawn="1"/>
        </p:nvSpPr>
        <p:spPr>
          <a:xfrm rot="5400000">
            <a:off x="-43607" y="2339658"/>
            <a:ext cx="236438" cy="149225"/>
          </a:xfrm>
          <a:prstGeom prst="triangle">
            <a:avLst/>
          </a:prstGeom>
          <a:solidFill>
            <a:srgbClr val="C00C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9" name="Titel 1">
            <a:extLst>
              <a:ext uri="{FF2B5EF4-FFF2-40B4-BE49-F238E27FC236}">
                <a16:creationId xmlns:a16="http://schemas.microsoft.com/office/drawing/2014/main" id="{99EA941F-AAA4-9249-A1A3-A8BC8B3A5329}"/>
              </a:ext>
            </a:extLst>
          </p:cNvPr>
          <p:cNvSpPr>
            <a:spLocks noGrp="1"/>
          </p:cNvSpPr>
          <p:nvPr>
            <p:ph type="title"/>
          </p:nvPr>
        </p:nvSpPr>
        <p:spPr>
          <a:xfrm>
            <a:off x="360000" y="2137047"/>
            <a:ext cx="8106019" cy="553998"/>
          </a:xfrm>
          <a:prstGeom prst="rect">
            <a:avLst/>
          </a:prstGeom>
        </p:spPr>
        <p:txBody>
          <a:bodyPr lIns="0" tIns="0" rIns="0" bIns="0" anchor="t">
            <a:spAutoFit/>
          </a:bodyPr>
          <a:lstStyle>
            <a:lvl1pPr algn="l">
              <a:defRPr sz="3600" b="1">
                <a:solidFill>
                  <a:schemeClr val="bg1"/>
                </a:solidFill>
                <a:latin typeface="Verdana" panose="020B0604030504040204" pitchFamily="34" charset="0"/>
                <a:ea typeface="Verdana" panose="020B0604030504040204" pitchFamily="34" charset="0"/>
                <a:cs typeface="Open Sans" panose="020B0606030504020204" pitchFamily="34" charset="0"/>
              </a:defRPr>
            </a:lvl1pPr>
          </a:lstStyle>
          <a:p>
            <a:r>
              <a:rPr lang="de-DE" dirty="0"/>
              <a:t>Mastertitelformat bearbeiten</a:t>
            </a:r>
          </a:p>
        </p:txBody>
      </p:sp>
      <p:sp>
        <p:nvSpPr>
          <p:cNvPr id="2" name="Textfeld 1">
            <a:extLst>
              <a:ext uri="{FF2B5EF4-FFF2-40B4-BE49-F238E27FC236}">
                <a16:creationId xmlns:a16="http://schemas.microsoft.com/office/drawing/2014/main" id="{CA3CCA31-5E7E-5C42-8B7E-C5C6A0F4EFAF}"/>
              </a:ext>
            </a:extLst>
          </p:cNvPr>
          <p:cNvSpPr txBox="1"/>
          <p:nvPr userDrawn="1"/>
        </p:nvSpPr>
        <p:spPr>
          <a:xfrm>
            <a:off x="944033" y="1227667"/>
            <a:ext cx="0" cy="0"/>
          </a:xfrm>
          <a:prstGeom prst="rect">
            <a:avLst/>
          </a:prstGeom>
          <a:noFill/>
        </p:spPr>
        <p:txBody>
          <a:bodyPr vert="horz" wrap="none" rtlCol="0" anchor="t">
            <a:noAutofit/>
          </a:bodyPr>
          <a:lstStyle/>
          <a:p>
            <a:pPr algn="l" rtl="0" eaLnBrk="1" fontAlgn="auto" hangingPunct="1">
              <a:lnSpc>
                <a:spcPct val="100000"/>
              </a:lnSpc>
              <a:spcBef>
                <a:spcPts val="0"/>
              </a:spcBef>
              <a:spcAft>
                <a:spcPts val="0"/>
              </a:spcAft>
            </a:pPr>
            <a:endParaRPr lang="de-DE" sz="1100" b="0" i="0" u="none" baseline="0" dirty="0">
              <a:solidFill>
                <a:srgbClr val="646464"/>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fik 3">
            <a:extLst>
              <a:ext uri="{FF2B5EF4-FFF2-40B4-BE49-F238E27FC236}">
                <a16:creationId xmlns:a16="http://schemas.microsoft.com/office/drawing/2014/main" id="{73B25566-238E-3561-D142-248231D5964B}"/>
              </a:ext>
            </a:extLst>
          </p:cNvPr>
          <p:cNvPicPr>
            <a:picLocks noChangeAspect="1"/>
          </p:cNvPicPr>
          <p:nvPr userDrawn="1"/>
        </p:nvPicPr>
        <p:blipFill rotWithShape="1">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8225" t="23238" r="8170" b="26410"/>
          <a:stretch/>
        </p:blipFill>
        <p:spPr>
          <a:xfrm>
            <a:off x="7449937" y="328598"/>
            <a:ext cx="1349620" cy="457200"/>
          </a:xfrm>
          <a:prstGeom prst="rect">
            <a:avLst/>
          </a:prstGeom>
        </p:spPr>
      </p:pic>
    </p:spTree>
    <p:extLst>
      <p:ext uri="{BB962C8B-B14F-4D97-AF65-F5344CB8AC3E}">
        <p14:creationId xmlns:p14="http://schemas.microsoft.com/office/powerpoint/2010/main" val="3581194710"/>
      </p:ext>
    </p:extLst>
  </p:cSld>
  <p:clrMapOvr>
    <a:masterClrMapping/>
  </p:clrMapOvr>
  <p:transition spd="slow">
    <p:push/>
  </p:transition>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elfolie">
    <p:spTree>
      <p:nvGrpSpPr>
        <p:cNvPr id="1" name=""/>
        <p:cNvGrpSpPr/>
        <p:nvPr/>
      </p:nvGrpSpPr>
      <p:grpSpPr>
        <a:xfrm>
          <a:off x="0" y="0"/>
          <a:ext cx="0" cy="0"/>
          <a:chOff x="0" y="0"/>
          <a:chExt cx="0" cy="0"/>
        </a:xfrm>
      </p:grpSpPr>
      <p:pic>
        <p:nvPicPr>
          <p:cNvPr id="9" name="Grafik 8" descr="Ein Bild, das Zug, Plattform, Bahnhof, Spur enthält.&#10;&#10;Automatisch generierte Beschreibung">
            <a:extLst>
              <a:ext uri="{FF2B5EF4-FFF2-40B4-BE49-F238E27FC236}">
                <a16:creationId xmlns:a16="http://schemas.microsoft.com/office/drawing/2014/main" id="{048F97C3-C392-4D86-BAE1-6646EE76ED3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144000" cy="5143500"/>
          </a:xfrm>
          <a:prstGeom prst="rect">
            <a:avLst/>
          </a:prstGeom>
        </p:spPr>
      </p:pic>
      <p:sp>
        <p:nvSpPr>
          <p:cNvPr id="3" name="Rechteck 2"/>
          <p:cNvSpPr/>
          <p:nvPr userDrawn="1"/>
        </p:nvSpPr>
        <p:spPr>
          <a:xfrm rot="10800000" flipV="1">
            <a:off x="-3" y="-224"/>
            <a:ext cx="9143999" cy="5143724"/>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28" name="Gleichschenkliges Dreieck 25">
            <a:extLst>
              <a:ext uri="{FF2B5EF4-FFF2-40B4-BE49-F238E27FC236}">
                <a16:creationId xmlns:a16="http://schemas.microsoft.com/office/drawing/2014/main" id="{CE65301E-BC0E-5640-A595-8CCCFF596DED}"/>
              </a:ext>
            </a:extLst>
          </p:cNvPr>
          <p:cNvSpPr/>
          <p:nvPr userDrawn="1"/>
        </p:nvSpPr>
        <p:spPr>
          <a:xfrm rot="5400000">
            <a:off x="-43607" y="2339658"/>
            <a:ext cx="236438" cy="149225"/>
          </a:xfrm>
          <a:prstGeom prst="triangle">
            <a:avLst/>
          </a:prstGeom>
          <a:solidFill>
            <a:srgbClr val="C00C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9" name="Titel 1">
            <a:extLst>
              <a:ext uri="{FF2B5EF4-FFF2-40B4-BE49-F238E27FC236}">
                <a16:creationId xmlns:a16="http://schemas.microsoft.com/office/drawing/2014/main" id="{99EA941F-AAA4-9249-A1A3-A8BC8B3A5329}"/>
              </a:ext>
            </a:extLst>
          </p:cNvPr>
          <p:cNvSpPr>
            <a:spLocks noGrp="1"/>
          </p:cNvSpPr>
          <p:nvPr>
            <p:ph type="title"/>
          </p:nvPr>
        </p:nvSpPr>
        <p:spPr>
          <a:xfrm>
            <a:off x="360000" y="2137047"/>
            <a:ext cx="8106019" cy="553998"/>
          </a:xfrm>
          <a:prstGeom prst="rect">
            <a:avLst/>
          </a:prstGeom>
        </p:spPr>
        <p:txBody>
          <a:bodyPr lIns="0" tIns="0" rIns="0" bIns="0" anchor="t">
            <a:spAutoFit/>
          </a:bodyPr>
          <a:lstStyle>
            <a:lvl1pPr algn="l">
              <a:defRPr sz="3600" b="1">
                <a:solidFill>
                  <a:schemeClr val="bg1"/>
                </a:solidFill>
                <a:latin typeface="Verdana" panose="020B0604030504040204" pitchFamily="34" charset="0"/>
                <a:ea typeface="Verdana" panose="020B0604030504040204" pitchFamily="34" charset="0"/>
                <a:cs typeface="Open Sans" panose="020B0606030504020204" pitchFamily="34" charset="0"/>
              </a:defRPr>
            </a:lvl1pPr>
          </a:lstStyle>
          <a:p>
            <a:r>
              <a:rPr lang="de-DE" dirty="0"/>
              <a:t>Mastertitelformat bearbeiten</a:t>
            </a:r>
          </a:p>
        </p:txBody>
      </p:sp>
      <p:sp>
        <p:nvSpPr>
          <p:cNvPr id="2" name="Textfeld 1">
            <a:extLst>
              <a:ext uri="{FF2B5EF4-FFF2-40B4-BE49-F238E27FC236}">
                <a16:creationId xmlns:a16="http://schemas.microsoft.com/office/drawing/2014/main" id="{CA3CCA31-5E7E-5C42-8B7E-C5C6A0F4EFAF}"/>
              </a:ext>
            </a:extLst>
          </p:cNvPr>
          <p:cNvSpPr txBox="1"/>
          <p:nvPr userDrawn="1"/>
        </p:nvSpPr>
        <p:spPr>
          <a:xfrm>
            <a:off x="944033" y="1227667"/>
            <a:ext cx="0" cy="0"/>
          </a:xfrm>
          <a:prstGeom prst="rect">
            <a:avLst/>
          </a:prstGeom>
          <a:noFill/>
        </p:spPr>
        <p:txBody>
          <a:bodyPr vert="horz" wrap="none" rtlCol="0" anchor="t">
            <a:noAutofit/>
          </a:bodyPr>
          <a:lstStyle/>
          <a:p>
            <a:pPr algn="l" rtl="0" eaLnBrk="1" fontAlgn="auto" hangingPunct="1">
              <a:lnSpc>
                <a:spcPct val="100000"/>
              </a:lnSpc>
              <a:spcBef>
                <a:spcPts val="0"/>
              </a:spcBef>
              <a:spcAft>
                <a:spcPts val="0"/>
              </a:spcAft>
            </a:pPr>
            <a:endParaRPr lang="de-DE" sz="1100" b="0" i="0" u="none" baseline="0" dirty="0">
              <a:solidFill>
                <a:srgbClr val="646464"/>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fik 3">
            <a:extLst>
              <a:ext uri="{FF2B5EF4-FFF2-40B4-BE49-F238E27FC236}">
                <a16:creationId xmlns:a16="http://schemas.microsoft.com/office/drawing/2014/main" id="{4AE14FCE-5E6C-6AC2-E932-2E1CE9FF490F}"/>
              </a:ext>
            </a:extLst>
          </p:cNvPr>
          <p:cNvPicPr>
            <a:picLocks noChangeAspect="1"/>
          </p:cNvPicPr>
          <p:nvPr userDrawn="1"/>
        </p:nvPicPr>
        <p:blipFill rotWithShape="1">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8225" t="23238" r="8170" b="26410"/>
          <a:stretch/>
        </p:blipFill>
        <p:spPr>
          <a:xfrm>
            <a:off x="7449937" y="328598"/>
            <a:ext cx="1349620" cy="457200"/>
          </a:xfrm>
          <a:prstGeom prst="rect">
            <a:avLst/>
          </a:prstGeom>
        </p:spPr>
      </p:pic>
    </p:spTree>
    <p:extLst>
      <p:ext uri="{BB962C8B-B14F-4D97-AF65-F5344CB8AC3E}">
        <p14:creationId xmlns:p14="http://schemas.microsoft.com/office/powerpoint/2010/main" val="2968202123"/>
      </p:ext>
    </p:extLst>
  </p:cSld>
  <p:clrMapOvr>
    <a:masterClrMapping/>
  </p:clrMapOvr>
  <p:transition spd="slow">
    <p:push/>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elfolie">
    <p:spTree>
      <p:nvGrpSpPr>
        <p:cNvPr id="1" name=""/>
        <p:cNvGrpSpPr/>
        <p:nvPr/>
      </p:nvGrpSpPr>
      <p:grpSpPr>
        <a:xfrm>
          <a:off x="0" y="0"/>
          <a:ext cx="0" cy="0"/>
          <a:chOff x="0" y="0"/>
          <a:chExt cx="0" cy="0"/>
        </a:xfrm>
      </p:grpSpPr>
      <p:sp>
        <p:nvSpPr>
          <p:cNvPr id="3" name="Rechteck 2"/>
          <p:cNvSpPr/>
          <p:nvPr userDrawn="1"/>
        </p:nvSpPr>
        <p:spPr>
          <a:xfrm rot="10800000" flipV="1">
            <a:off x="-1" y="-224"/>
            <a:ext cx="9143996" cy="51437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28" name="Gleichschenkliges Dreieck 25">
            <a:extLst>
              <a:ext uri="{FF2B5EF4-FFF2-40B4-BE49-F238E27FC236}">
                <a16:creationId xmlns:a16="http://schemas.microsoft.com/office/drawing/2014/main" id="{CE65301E-BC0E-5640-A595-8CCCFF596DED}"/>
              </a:ext>
            </a:extLst>
          </p:cNvPr>
          <p:cNvSpPr/>
          <p:nvPr userDrawn="1"/>
        </p:nvSpPr>
        <p:spPr>
          <a:xfrm rot="5400000">
            <a:off x="-43607" y="2339658"/>
            <a:ext cx="236438" cy="149225"/>
          </a:xfrm>
          <a:prstGeom prst="triangle">
            <a:avLst/>
          </a:prstGeom>
          <a:solidFill>
            <a:srgbClr val="C00C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9" name="Titel 1">
            <a:extLst>
              <a:ext uri="{FF2B5EF4-FFF2-40B4-BE49-F238E27FC236}">
                <a16:creationId xmlns:a16="http://schemas.microsoft.com/office/drawing/2014/main" id="{99EA941F-AAA4-9249-A1A3-A8BC8B3A5329}"/>
              </a:ext>
            </a:extLst>
          </p:cNvPr>
          <p:cNvSpPr>
            <a:spLocks noGrp="1"/>
          </p:cNvSpPr>
          <p:nvPr>
            <p:ph type="title"/>
          </p:nvPr>
        </p:nvSpPr>
        <p:spPr>
          <a:xfrm>
            <a:off x="360000" y="2137047"/>
            <a:ext cx="8106019" cy="553998"/>
          </a:xfrm>
          <a:prstGeom prst="rect">
            <a:avLst/>
          </a:prstGeom>
        </p:spPr>
        <p:txBody>
          <a:bodyPr lIns="0" tIns="0" rIns="0" bIns="0" anchor="t">
            <a:spAutoFit/>
          </a:bodyPr>
          <a:lstStyle>
            <a:lvl1pPr algn="l">
              <a:defRPr sz="3600" b="1">
                <a:solidFill>
                  <a:schemeClr val="bg1"/>
                </a:solidFill>
                <a:latin typeface="Verdana" panose="020B0604030504040204" pitchFamily="34" charset="0"/>
                <a:ea typeface="Verdana" panose="020B0604030504040204" pitchFamily="34" charset="0"/>
                <a:cs typeface="Open Sans" panose="020B0606030504020204" pitchFamily="34" charset="0"/>
              </a:defRPr>
            </a:lvl1pPr>
          </a:lstStyle>
          <a:p>
            <a:r>
              <a:rPr lang="de-DE" dirty="0"/>
              <a:t>Mastertitelformat bearbeiten</a:t>
            </a:r>
          </a:p>
        </p:txBody>
      </p:sp>
      <p:sp>
        <p:nvSpPr>
          <p:cNvPr id="2" name="Textfeld 1">
            <a:extLst>
              <a:ext uri="{FF2B5EF4-FFF2-40B4-BE49-F238E27FC236}">
                <a16:creationId xmlns:a16="http://schemas.microsoft.com/office/drawing/2014/main" id="{CA3CCA31-5E7E-5C42-8B7E-C5C6A0F4EFAF}"/>
              </a:ext>
            </a:extLst>
          </p:cNvPr>
          <p:cNvSpPr txBox="1"/>
          <p:nvPr userDrawn="1"/>
        </p:nvSpPr>
        <p:spPr>
          <a:xfrm>
            <a:off x="944033" y="1227667"/>
            <a:ext cx="0" cy="0"/>
          </a:xfrm>
          <a:prstGeom prst="rect">
            <a:avLst/>
          </a:prstGeom>
          <a:noFill/>
        </p:spPr>
        <p:txBody>
          <a:bodyPr vert="horz" wrap="none" rtlCol="0" anchor="t">
            <a:noAutofit/>
          </a:bodyPr>
          <a:lstStyle/>
          <a:p>
            <a:pPr algn="l" rtl="0" eaLnBrk="1" fontAlgn="auto" hangingPunct="1">
              <a:lnSpc>
                <a:spcPct val="100000"/>
              </a:lnSpc>
              <a:spcBef>
                <a:spcPts val="0"/>
              </a:spcBef>
              <a:spcAft>
                <a:spcPts val="0"/>
              </a:spcAft>
            </a:pPr>
            <a:endParaRPr lang="de-DE" sz="1100" b="0" i="0" u="none" baseline="0" dirty="0">
              <a:solidFill>
                <a:srgbClr val="646464"/>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Grafik 3">
            <a:extLst>
              <a:ext uri="{FF2B5EF4-FFF2-40B4-BE49-F238E27FC236}">
                <a16:creationId xmlns:a16="http://schemas.microsoft.com/office/drawing/2014/main" id="{CEE635DB-1715-103B-F638-0CBF3A792B95}"/>
              </a:ext>
            </a:extLst>
          </p:cNvPr>
          <p:cNvPicPr>
            <a:picLocks noChangeAspect="1"/>
          </p:cNvPicPr>
          <p:nvPr userDrawn="1"/>
        </p:nvPicPr>
        <p:blipFill rotWithShape="1">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8225" t="23238" r="8170" b="26410"/>
          <a:stretch/>
        </p:blipFill>
        <p:spPr>
          <a:xfrm>
            <a:off x="7449937" y="328598"/>
            <a:ext cx="1349620" cy="457200"/>
          </a:xfrm>
          <a:prstGeom prst="rect">
            <a:avLst/>
          </a:prstGeom>
        </p:spPr>
      </p:pic>
    </p:spTree>
    <p:extLst>
      <p:ext uri="{BB962C8B-B14F-4D97-AF65-F5344CB8AC3E}">
        <p14:creationId xmlns:p14="http://schemas.microsoft.com/office/powerpoint/2010/main" val="448438088"/>
      </p:ext>
    </p:extLst>
  </p:cSld>
  <p:clrMapOvr>
    <a:masterClrMapping/>
  </p:clrMapOvr>
  <p:transition spd="slow">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Titelfolie">
    <p:spTree>
      <p:nvGrpSpPr>
        <p:cNvPr id="1" name=""/>
        <p:cNvGrpSpPr/>
        <p:nvPr/>
      </p:nvGrpSpPr>
      <p:grpSpPr>
        <a:xfrm>
          <a:off x="0" y="0"/>
          <a:ext cx="0" cy="0"/>
          <a:chOff x="0" y="0"/>
          <a:chExt cx="0" cy="0"/>
        </a:xfrm>
      </p:grpSpPr>
      <p:sp>
        <p:nvSpPr>
          <p:cNvPr id="3" name="Rechteck 2"/>
          <p:cNvSpPr/>
          <p:nvPr userDrawn="1"/>
        </p:nvSpPr>
        <p:spPr>
          <a:xfrm rot="10800000" flipV="1">
            <a:off x="-1" y="-224"/>
            <a:ext cx="9143996" cy="5143724"/>
          </a:xfrm>
          <a:prstGeom prst="rect">
            <a:avLst/>
          </a:prstGeom>
          <a:solidFill>
            <a:srgbClr val="C00C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28" name="Gleichschenkliges Dreieck 25">
            <a:extLst>
              <a:ext uri="{FF2B5EF4-FFF2-40B4-BE49-F238E27FC236}">
                <a16:creationId xmlns:a16="http://schemas.microsoft.com/office/drawing/2014/main" id="{CE65301E-BC0E-5640-A595-8CCCFF596DED}"/>
              </a:ext>
            </a:extLst>
          </p:cNvPr>
          <p:cNvSpPr/>
          <p:nvPr userDrawn="1"/>
        </p:nvSpPr>
        <p:spPr>
          <a:xfrm rot="5400000">
            <a:off x="-43607" y="2339658"/>
            <a:ext cx="236438" cy="14922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9" name="Titel 1">
            <a:extLst>
              <a:ext uri="{FF2B5EF4-FFF2-40B4-BE49-F238E27FC236}">
                <a16:creationId xmlns:a16="http://schemas.microsoft.com/office/drawing/2014/main" id="{99EA941F-AAA4-9249-A1A3-A8BC8B3A5329}"/>
              </a:ext>
            </a:extLst>
          </p:cNvPr>
          <p:cNvSpPr>
            <a:spLocks noGrp="1"/>
          </p:cNvSpPr>
          <p:nvPr>
            <p:ph type="title"/>
          </p:nvPr>
        </p:nvSpPr>
        <p:spPr>
          <a:xfrm>
            <a:off x="360000" y="2137047"/>
            <a:ext cx="8106019" cy="553998"/>
          </a:xfrm>
          <a:prstGeom prst="rect">
            <a:avLst/>
          </a:prstGeom>
        </p:spPr>
        <p:txBody>
          <a:bodyPr lIns="0" tIns="0" rIns="0" bIns="0" anchor="t">
            <a:spAutoFit/>
          </a:bodyPr>
          <a:lstStyle>
            <a:lvl1pPr algn="l">
              <a:defRPr sz="3600" b="1">
                <a:solidFill>
                  <a:schemeClr val="bg1"/>
                </a:solidFill>
                <a:latin typeface="Verdana" panose="020B0604030504040204" pitchFamily="34" charset="0"/>
                <a:ea typeface="Verdana" panose="020B0604030504040204" pitchFamily="34" charset="0"/>
                <a:cs typeface="Open Sans" panose="020B0606030504020204" pitchFamily="34" charset="0"/>
              </a:defRPr>
            </a:lvl1pPr>
          </a:lstStyle>
          <a:p>
            <a:r>
              <a:rPr lang="de-DE" dirty="0"/>
              <a:t>Mastertitelformat bearbeiten</a:t>
            </a:r>
          </a:p>
        </p:txBody>
      </p:sp>
      <p:sp>
        <p:nvSpPr>
          <p:cNvPr id="2" name="Textfeld 1">
            <a:extLst>
              <a:ext uri="{FF2B5EF4-FFF2-40B4-BE49-F238E27FC236}">
                <a16:creationId xmlns:a16="http://schemas.microsoft.com/office/drawing/2014/main" id="{CA3CCA31-5E7E-5C42-8B7E-C5C6A0F4EFAF}"/>
              </a:ext>
            </a:extLst>
          </p:cNvPr>
          <p:cNvSpPr txBox="1"/>
          <p:nvPr userDrawn="1"/>
        </p:nvSpPr>
        <p:spPr>
          <a:xfrm>
            <a:off x="944033" y="1227667"/>
            <a:ext cx="0" cy="0"/>
          </a:xfrm>
          <a:prstGeom prst="rect">
            <a:avLst/>
          </a:prstGeom>
          <a:noFill/>
        </p:spPr>
        <p:txBody>
          <a:bodyPr vert="horz" wrap="none" rtlCol="0" anchor="t">
            <a:noAutofit/>
          </a:bodyPr>
          <a:lstStyle/>
          <a:p>
            <a:pPr algn="l" rtl="0" eaLnBrk="1" fontAlgn="auto" hangingPunct="1">
              <a:lnSpc>
                <a:spcPct val="100000"/>
              </a:lnSpc>
              <a:spcBef>
                <a:spcPts val="0"/>
              </a:spcBef>
              <a:spcAft>
                <a:spcPts val="0"/>
              </a:spcAft>
            </a:pPr>
            <a:endParaRPr lang="de-DE" sz="1100" b="0" i="0" u="none" baseline="0" dirty="0">
              <a:solidFill>
                <a:srgbClr val="646464"/>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Grafik 4">
            <a:extLst>
              <a:ext uri="{FF2B5EF4-FFF2-40B4-BE49-F238E27FC236}">
                <a16:creationId xmlns:a16="http://schemas.microsoft.com/office/drawing/2014/main" id="{CF45675F-3725-9EB1-FDBA-EF0B7E7EC1C6}"/>
              </a:ext>
            </a:extLst>
          </p:cNvPr>
          <p:cNvPicPr>
            <a:picLocks noChangeAspect="1"/>
          </p:cNvPicPr>
          <p:nvPr userDrawn="1"/>
        </p:nvPicPr>
        <p:blipFill rotWithShape="1">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8225" t="23238" r="8170" b="26410"/>
          <a:stretch/>
        </p:blipFill>
        <p:spPr>
          <a:xfrm>
            <a:off x="7449937" y="328598"/>
            <a:ext cx="1349620" cy="457200"/>
          </a:xfrm>
          <a:prstGeom prst="rect">
            <a:avLst/>
          </a:prstGeom>
        </p:spPr>
      </p:pic>
    </p:spTree>
    <p:extLst>
      <p:ext uri="{BB962C8B-B14F-4D97-AF65-F5344CB8AC3E}">
        <p14:creationId xmlns:p14="http://schemas.microsoft.com/office/powerpoint/2010/main" val="41006964"/>
      </p:ext>
    </p:extLst>
  </p:cSld>
  <p:clrMapOvr>
    <a:masterClrMapping/>
  </p:clrMapOvr>
  <p:transition spd="slow">
    <p:push/>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ndardfolie leer">
    <p:spTree>
      <p:nvGrpSpPr>
        <p:cNvPr id="1" name=""/>
        <p:cNvGrpSpPr/>
        <p:nvPr/>
      </p:nvGrpSpPr>
      <p:grpSpPr>
        <a:xfrm>
          <a:off x="0" y="0"/>
          <a:ext cx="0" cy="0"/>
          <a:chOff x="0" y="0"/>
          <a:chExt cx="0" cy="0"/>
        </a:xfrm>
      </p:grpSpPr>
      <p:sp>
        <p:nvSpPr>
          <p:cNvPr id="12" name="Textplatzhalter 6">
            <a:extLst>
              <a:ext uri="{FF2B5EF4-FFF2-40B4-BE49-F238E27FC236}">
                <a16:creationId xmlns:a16="http://schemas.microsoft.com/office/drawing/2014/main" id="{FAA424B3-3868-422E-B34D-09D868B63AE9}"/>
              </a:ext>
            </a:extLst>
          </p:cNvPr>
          <p:cNvSpPr>
            <a:spLocks noGrp="1"/>
          </p:cNvSpPr>
          <p:nvPr>
            <p:ph type="body" sz="quarter" idx="13"/>
          </p:nvPr>
        </p:nvSpPr>
        <p:spPr>
          <a:xfrm>
            <a:off x="358358" y="342258"/>
            <a:ext cx="6721230" cy="531499"/>
          </a:xfrm>
          <a:prstGeom prst="rect">
            <a:avLst/>
          </a:prstGeom>
        </p:spPr>
        <p:txBody>
          <a:bodyPr lIns="0" tIns="0" rIns="0" bIns="0" anchor="t"/>
          <a:lstStyle>
            <a:lvl1pPr marL="0" indent="0">
              <a:spcBef>
                <a:spcPts val="0"/>
              </a:spcBef>
              <a:spcAft>
                <a:spcPts val="0"/>
              </a:spcAft>
              <a:buFontTx/>
              <a:buNone/>
              <a:defRPr sz="2000" b="1">
                <a:solidFill>
                  <a:schemeClr val="tx1"/>
                </a:solidFill>
                <a:latin typeface="Verdana" panose="020B0604030504040204" pitchFamily="34" charset="0"/>
                <a:ea typeface="Verdana" panose="020B0604030504040204" pitchFamily="34" charset="0"/>
                <a:cs typeface="Open Sans" panose="020B0606030504020204" pitchFamily="34" charset="0"/>
              </a:defRPr>
            </a:lvl1pPr>
            <a:lvl2pPr marL="0" indent="0">
              <a:lnSpc>
                <a:spcPct val="125000"/>
              </a:lnSpc>
              <a:spcBef>
                <a:spcPts val="0"/>
              </a:spcBef>
              <a:buFontTx/>
              <a:buNone/>
              <a:defRPr sz="1300">
                <a:solidFill>
                  <a:schemeClr val="bg2"/>
                </a:solidFill>
                <a:latin typeface="Verdana" panose="020B0604030504040204" pitchFamily="34" charset="0"/>
                <a:ea typeface="Verdana" panose="020B0604030504040204" pitchFamily="34" charset="0"/>
                <a:cs typeface="Open Sans" panose="020B0606030504020204" pitchFamily="34" charset="0"/>
              </a:defRPr>
            </a:lvl2pPr>
          </a:lstStyle>
          <a:p>
            <a:pPr lvl="0"/>
            <a:r>
              <a:rPr lang="de-DE" dirty="0"/>
              <a:t>Mastertextformat bearbeiten</a:t>
            </a:r>
          </a:p>
          <a:p>
            <a:pPr lvl="1"/>
            <a:r>
              <a:rPr lang="de-DE" dirty="0"/>
              <a:t>Zweite Ebene</a:t>
            </a:r>
          </a:p>
        </p:txBody>
      </p:sp>
      <p:sp>
        <p:nvSpPr>
          <p:cNvPr id="13" name="Textfeld 12">
            <a:extLst>
              <a:ext uri="{FF2B5EF4-FFF2-40B4-BE49-F238E27FC236}">
                <a16:creationId xmlns:a16="http://schemas.microsoft.com/office/drawing/2014/main" id="{EEFF0349-72E8-410A-8FD1-9F71B64FCF3D}"/>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2" name="Gleichschenkliges Dreieck 1">
            <a:extLst>
              <a:ext uri="{FF2B5EF4-FFF2-40B4-BE49-F238E27FC236}">
                <a16:creationId xmlns:a16="http://schemas.microsoft.com/office/drawing/2014/main" id="{43297AE1-C164-40BF-9827-84324D69EB64}"/>
              </a:ext>
            </a:extLst>
          </p:cNvPr>
          <p:cNvSpPr/>
          <p:nvPr userDrawn="1"/>
        </p:nvSpPr>
        <p:spPr>
          <a:xfrm rot="5400000">
            <a:off x="-43607" y="416079"/>
            <a:ext cx="236438" cy="149225"/>
          </a:xfrm>
          <a:prstGeom prst="triangle">
            <a:avLst/>
          </a:prstGeom>
          <a:solidFill>
            <a:srgbClr val="C00C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pic>
        <p:nvPicPr>
          <p:cNvPr id="4" name="Grafik 3">
            <a:extLst>
              <a:ext uri="{FF2B5EF4-FFF2-40B4-BE49-F238E27FC236}">
                <a16:creationId xmlns:a16="http://schemas.microsoft.com/office/drawing/2014/main" id="{BD9415DC-315B-C364-CBE4-92D17B298FAC}"/>
              </a:ext>
            </a:extLst>
          </p:cNvPr>
          <p:cNvPicPr>
            <a:picLocks noChangeAspect="1"/>
          </p:cNvPicPr>
          <p:nvPr userDrawn="1"/>
        </p:nvPicPr>
        <p:blipFill rotWithShape="1">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7625" t="22851" r="6862" b="24377"/>
          <a:stretch/>
        </p:blipFill>
        <p:spPr>
          <a:xfrm>
            <a:off x="7440686" y="314940"/>
            <a:ext cx="1382636" cy="479960"/>
          </a:xfrm>
          <a:prstGeom prst="rect">
            <a:avLst/>
          </a:prstGeom>
        </p:spPr>
      </p:pic>
    </p:spTree>
    <p:extLst>
      <p:ext uri="{BB962C8B-B14F-4D97-AF65-F5344CB8AC3E}">
        <p14:creationId xmlns:p14="http://schemas.microsoft.com/office/powerpoint/2010/main" val="2808101904"/>
      </p:ext>
    </p:extLst>
  </p:cSld>
  <p:clrMapOvr>
    <a:masterClrMapping/>
  </p:clrMapOvr>
  <p:transition spd="slow">
    <p:push/>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folie Text">
    <p:spTree>
      <p:nvGrpSpPr>
        <p:cNvPr id="1" name=""/>
        <p:cNvGrpSpPr/>
        <p:nvPr/>
      </p:nvGrpSpPr>
      <p:grpSpPr>
        <a:xfrm>
          <a:off x="0" y="0"/>
          <a:ext cx="0" cy="0"/>
          <a:chOff x="0" y="0"/>
          <a:chExt cx="0" cy="0"/>
        </a:xfrm>
      </p:grpSpPr>
      <p:sp>
        <p:nvSpPr>
          <p:cNvPr id="13" name="Textfeld 12">
            <a:extLst>
              <a:ext uri="{FF2B5EF4-FFF2-40B4-BE49-F238E27FC236}">
                <a16:creationId xmlns:a16="http://schemas.microsoft.com/office/drawing/2014/main" id="{EEFF0349-72E8-410A-8FD1-9F71B64FCF3D}"/>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19" name="Textplatzhalter 6">
            <a:extLst>
              <a:ext uri="{FF2B5EF4-FFF2-40B4-BE49-F238E27FC236}">
                <a16:creationId xmlns:a16="http://schemas.microsoft.com/office/drawing/2014/main" id="{BDF3EDBA-52C0-4E74-9543-23537361AC07}"/>
              </a:ext>
            </a:extLst>
          </p:cNvPr>
          <p:cNvSpPr>
            <a:spLocks noGrp="1"/>
          </p:cNvSpPr>
          <p:nvPr>
            <p:ph type="body" sz="quarter" idx="13"/>
          </p:nvPr>
        </p:nvSpPr>
        <p:spPr>
          <a:xfrm>
            <a:off x="358358" y="342258"/>
            <a:ext cx="6721230" cy="531499"/>
          </a:xfrm>
          <a:prstGeom prst="rect">
            <a:avLst/>
          </a:prstGeom>
        </p:spPr>
        <p:txBody>
          <a:bodyPr lIns="0" tIns="0" rIns="0" bIns="0" anchor="t"/>
          <a:lstStyle>
            <a:lvl1pPr marL="0" indent="0">
              <a:spcBef>
                <a:spcPts val="0"/>
              </a:spcBef>
              <a:spcAft>
                <a:spcPts val="0"/>
              </a:spcAft>
              <a:buFontTx/>
              <a:buNone/>
              <a:defRPr sz="2000" b="1">
                <a:solidFill>
                  <a:schemeClr val="tx1"/>
                </a:solidFill>
                <a:latin typeface="Verdana" panose="020B0604030504040204" pitchFamily="34" charset="0"/>
                <a:ea typeface="Verdana" panose="020B0604030504040204" pitchFamily="34" charset="0"/>
                <a:cs typeface="Open Sans" panose="020B0606030504020204" pitchFamily="34" charset="0"/>
              </a:defRPr>
            </a:lvl1pPr>
            <a:lvl2pPr marL="0" indent="0">
              <a:lnSpc>
                <a:spcPct val="125000"/>
              </a:lnSpc>
              <a:spcBef>
                <a:spcPts val="0"/>
              </a:spcBef>
              <a:buFontTx/>
              <a:buNone/>
              <a:defRPr sz="1300">
                <a:solidFill>
                  <a:schemeClr val="bg2"/>
                </a:solidFill>
                <a:latin typeface="Verdana" panose="020B0604030504040204" pitchFamily="34" charset="0"/>
                <a:ea typeface="Verdana" panose="020B0604030504040204" pitchFamily="34" charset="0"/>
                <a:cs typeface="Open Sans" panose="020B0606030504020204" pitchFamily="34" charset="0"/>
              </a:defRPr>
            </a:lvl2pPr>
          </a:lstStyle>
          <a:p>
            <a:pPr lvl="0"/>
            <a:r>
              <a:rPr lang="de-DE" dirty="0"/>
              <a:t>Mastertextformat bearbeiten</a:t>
            </a:r>
          </a:p>
          <a:p>
            <a:pPr lvl="1"/>
            <a:r>
              <a:rPr lang="de-DE" dirty="0"/>
              <a:t>Zweite Ebene</a:t>
            </a:r>
          </a:p>
        </p:txBody>
      </p:sp>
      <p:sp>
        <p:nvSpPr>
          <p:cNvPr id="20" name="Gleichschenkliges Dreieck 19">
            <a:extLst>
              <a:ext uri="{FF2B5EF4-FFF2-40B4-BE49-F238E27FC236}">
                <a16:creationId xmlns:a16="http://schemas.microsoft.com/office/drawing/2014/main" id="{EDA89B06-F397-4269-9222-788B5F5A920A}"/>
              </a:ext>
            </a:extLst>
          </p:cNvPr>
          <p:cNvSpPr/>
          <p:nvPr userDrawn="1"/>
        </p:nvSpPr>
        <p:spPr>
          <a:xfrm rot="5400000">
            <a:off x="-43607" y="416079"/>
            <a:ext cx="236438" cy="149225"/>
          </a:xfrm>
          <a:prstGeom prst="triangle">
            <a:avLst/>
          </a:prstGeom>
          <a:solidFill>
            <a:srgbClr val="C00C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17" name="Textplatzhalter 16">
            <a:extLst>
              <a:ext uri="{FF2B5EF4-FFF2-40B4-BE49-F238E27FC236}">
                <a16:creationId xmlns:a16="http://schemas.microsoft.com/office/drawing/2014/main" id="{E2D7FE02-EC05-9A4F-A7F4-AC85AC4269D1}"/>
              </a:ext>
            </a:extLst>
          </p:cNvPr>
          <p:cNvSpPr>
            <a:spLocks noGrp="1"/>
          </p:cNvSpPr>
          <p:nvPr>
            <p:ph type="body" sz="quarter" idx="18"/>
          </p:nvPr>
        </p:nvSpPr>
        <p:spPr>
          <a:xfrm>
            <a:off x="360000" y="1328826"/>
            <a:ext cx="8420726" cy="3454913"/>
          </a:xfrm>
          <a:prstGeom prst="rect">
            <a:avLst/>
          </a:prstGeom>
          <a:noFill/>
          <a:effectLst/>
        </p:spPr>
        <p:txBody>
          <a:bodyPr lIns="0" tIns="0" rIns="0" bIns="0"/>
          <a:lstStyle>
            <a:lvl1pPr>
              <a:spcBef>
                <a:spcPts val="0"/>
              </a:spcBef>
              <a:spcAft>
                <a:spcPts val="600"/>
              </a:spcAft>
              <a:defRPr sz="1200">
                <a:solidFill>
                  <a:srgbClr val="C00C0F"/>
                </a:solidFill>
                <a:latin typeface="Verdana" panose="020B0604030504040204" pitchFamily="34" charset="0"/>
                <a:ea typeface="Verdana" panose="020B0604030504040204" pitchFamily="34" charset="0"/>
              </a:defRPr>
            </a:lvl1pPr>
            <a:lvl2pPr marL="0" indent="0">
              <a:spcBef>
                <a:spcPts val="0"/>
              </a:spcBef>
              <a:buNone/>
              <a:defRPr sz="1200">
                <a:solidFill>
                  <a:schemeClr val="tx1"/>
                </a:solidFill>
                <a:latin typeface="Verdana" panose="020B0604030504040204" pitchFamily="34" charset="0"/>
                <a:ea typeface="Verdana" panose="020B0604030504040204" pitchFamily="34" charset="0"/>
              </a:defRPr>
            </a:lvl2pPr>
            <a:lvl3pPr marL="108000" indent="-108000">
              <a:spcBef>
                <a:spcPts val="100"/>
              </a:spcBef>
              <a:spcAft>
                <a:spcPts val="0"/>
              </a:spcAft>
              <a:buClr>
                <a:srgbClr val="C00C0F"/>
              </a:buClr>
              <a:buSzPct val="100000"/>
              <a:buFont typeface="Wingdings" pitchFamily="2" charset="2"/>
              <a:buChar char="§"/>
              <a:defRPr lang="de-DE" sz="1200" b="0" kern="1200" dirty="0" smtClean="0">
                <a:solidFill>
                  <a:schemeClr val="tx1"/>
                </a:solidFill>
                <a:latin typeface="Verdana" panose="020B0604030504040204" pitchFamily="34" charset="0"/>
                <a:ea typeface="Verdana" panose="020B0604030504040204" pitchFamily="34" charset="0"/>
                <a:cs typeface="+mn-cs"/>
              </a:defRPr>
            </a:lvl3pPr>
          </a:lstStyle>
          <a:p>
            <a:pPr lvl="0"/>
            <a:r>
              <a:rPr lang="de-DE" dirty="0"/>
              <a:t>Mastertextformat bearbeiten</a:t>
            </a:r>
          </a:p>
          <a:p>
            <a:pPr lvl="1"/>
            <a:r>
              <a:rPr lang="de-DE" dirty="0"/>
              <a:t>Zweite Ebene</a:t>
            </a:r>
          </a:p>
          <a:p>
            <a:pPr lvl="2"/>
            <a:r>
              <a:rPr lang="de-DE" dirty="0"/>
              <a:t>Dritte Ebene</a:t>
            </a:r>
          </a:p>
        </p:txBody>
      </p:sp>
      <p:pic>
        <p:nvPicPr>
          <p:cNvPr id="4" name="Grafik 3">
            <a:extLst>
              <a:ext uri="{FF2B5EF4-FFF2-40B4-BE49-F238E27FC236}">
                <a16:creationId xmlns:a16="http://schemas.microsoft.com/office/drawing/2014/main" id="{B3A80A2F-8722-9166-2EBD-FFA103C4D388}"/>
              </a:ext>
            </a:extLst>
          </p:cNvPr>
          <p:cNvPicPr>
            <a:picLocks noChangeAspect="1"/>
          </p:cNvPicPr>
          <p:nvPr userDrawn="1"/>
        </p:nvPicPr>
        <p:blipFill rotWithShape="1">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7625" t="22851" r="6862" b="24377"/>
          <a:stretch/>
        </p:blipFill>
        <p:spPr>
          <a:xfrm>
            <a:off x="7440686" y="314940"/>
            <a:ext cx="1382636" cy="479960"/>
          </a:xfrm>
          <a:prstGeom prst="rect">
            <a:avLst/>
          </a:prstGeom>
        </p:spPr>
      </p:pic>
    </p:spTree>
    <p:extLst>
      <p:ext uri="{BB962C8B-B14F-4D97-AF65-F5344CB8AC3E}">
        <p14:creationId xmlns:p14="http://schemas.microsoft.com/office/powerpoint/2010/main" val="4084919210"/>
      </p:ext>
    </p:extLst>
  </p:cSld>
  <p:clrMapOvr>
    <a:masterClrMapping/>
  </p:clrMapOvr>
  <p:transition spd="slow">
    <p:push/>
  </p:transition>
  <p:extLst>
    <p:ext uri="{DCECCB84-F9BA-43D5-87BE-67443E8EF086}">
      <p15:sldGuideLst xmlns:p15="http://schemas.microsoft.com/office/powerpoint/2012/main">
        <p15:guide id="1" orient="horz" pos="214" userDrawn="1">
          <p15:clr>
            <a:srgbClr val="FBAE40"/>
          </p15:clr>
        </p15:guide>
        <p15:guide id="2" pos="553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Textfeld 12"/>
          <p:cNvSpPr txBox="1"/>
          <p:nvPr/>
        </p:nvSpPr>
        <p:spPr>
          <a:xfrm>
            <a:off x="1049037" y="3119059"/>
            <a:ext cx="184731" cy="369332"/>
          </a:xfrm>
          <a:prstGeom prst="rect">
            <a:avLst/>
          </a:prstGeom>
          <a:noFill/>
        </p:spPr>
        <p:txBody>
          <a:bodyPr wrap="none" rtlCol="0">
            <a:spAutoFit/>
          </a:bodyPr>
          <a:lstStyle/>
          <a:p>
            <a:pPr lvl="0"/>
            <a:endParaRPr lang="de-DE" sz="1800" dirty="0"/>
          </a:p>
        </p:txBody>
      </p:sp>
      <p:sp>
        <p:nvSpPr>
          <p:cNvPr id="2" name="empower - DO NOT DELETE!!!" hidden="1"/>
          <p:cNvSpPr/>
          <p:nvPr userDrawn="1">
            <p:custDataLst>
              <p:tags r:id="rId25"/>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400" dirty="0" err="1">
              <a:solidFill>
                <a:schemeClr val="bg1"/>
              </a:solidFill>
            </a:endParaRPr>
          </a:p>
        </p:txBody>
      </p:sp>
      <p:sp>
        <p:nvSpPr>
          <p:cNvPr id="5" name="Freeform 5">
            <a:extLst>
              <a:ext uri="{FF2B5EF4-FFF2-40B4-BE49-F238E27FC236}">
                <a16:creationId xmlns:a16="http://schemas.microsoft.com/office/drawing/2014/main" id="{4E7C9E4B-AA85-5D42-B0DE-B0F27D517A76}"/>
              </a:ext>
            </a:extLst>
          </p:cNvPr>
          <p:cNvSpPr>
            <a:spLocks/>
          </p:cNvSpPr>
          <p:nvPr userDrawn="1"/>
        </p:nvSpPr>
        <p:spPr bwMode="auto">
          <a:xfrm>
            <a:off x="8934450" y="4814848"/>
            <a:ext cx="209550" cy="149225"/>
          </a:xfrm>
          <a:prstGeom prst="rect">
            <a:avLst/>
          </a:prstGeom>
          <a:solidFill>
            <a:srgbClr val="C00C0F"/>
          </a:solidFill>
          <a:ln>
            <a:noFill/>
          </a:ln>
        </p:spPr>
        <p:txBody>
          <a:bodyPr vert="horz" wrap="square" lIns="0" tIns="0" rIns="0" bIns="0" numCol="1" anchor="ctr" anchorCtr="0" compatLnSpc="1">
            <a:prstTxWarp prst="textNoShape">
              <a:avLst/>
            </a:prstTxWarp>
          </a:bodyPr>
          <a:lstStyle/>
          <a:p>
            <a:pPr algn="ctr"/>
            <a:fld id="{8F9773B6-8B82-4ECC-A544-4EC6B4C84943}" type="slidenum">
              <a:rPr lang="de-DE" sz="700" b="1" smtClean="0">
                <a:solidFill>
                  <a:schemeClr val="bg1"/>
                </a:solidFill>
                <a:latin typeface="Open Sans" panose="020B0606030504020204" pitchFamily="34" charset="0"/>
                <a:ea typeface="Open Sans" panose="020B0606030504020204" pitchFamily="34" charset="0"/>
                <a:cs typeface="Open Sans" panose="020B0606030504020204" pitchFamily="34" charset="0"/>
              </a:rPr>
              <a:t>‹#›</a:t>
            </a:fld>
            <a:endParaRPr lang="de-DE" sz="700" dirty="0"/>
          </a:p>
        </p:txBody>
      </p:sp>
      <p:sp>
        <p:nvSpPr>
          <p:cNvPr id="4" name="TextBox 3">
            <a:extLst>
              <a:ext uri="{FF2B5EF4-FFF2-40B4-BE49-F238E27FC236}">
                <a16:creationId xmlns:a16="http://schemas.microsoft.com/office/drawing/2014/main" id="{72DD0D21-CA55-A3EB-60FB-2D937AB661C0}"/>
              </a:ext>
            </a:extLst>
          </p:cNvPr>
          <p:cNvSpPr txBox="1"/>
          <p:nvPr userDrawn="1">
            <p:extLst>
              <p:ext uri="{1162E1C5-73C7-4A58-AE30-91384D911F3F}">
                <p184:classification xmlns:p184="http://schemas.microsoft.com/office/powerpoint/2018/4/main" val="ftr"/>
              </p:ext>
            </p:extLst>
          </p:nvPr>
        </p:nvSpPr>
        <p:spPr>
          <a:xfrm>
            <a:off x="63500" y="4958080"/>
            <a:ext cx="531813" cy="121920"/>
          </a:xfrm>
          <a:prstGeom prst="rect">
            <a:avLst/>
          </a:prstGeom>
        </p:spPr>
        <p:txBody>
          <a:bodyPr horzOverflow="overflow" lIns="0" tIns="0" rIns="0" bIns="0">
            <a:spAutoFit/>
          </a:bodyPr>
          <a:lstStyle/>
          <a:p>
            <a:pPr algn="l"/>
            <a:r>
              <a:rPr lang="en-US" sz="800">
                <a:solidFill>
                  <a:srgbClr val="000000"/>
                </a:solidFill>
                <a:latin typeface="Arial" panose="020B0604020202020204" pitchFamily="34" charset="0"/>
                <a:cs typeface="Arial" panose="020B0604020202020204" pitchFamily="34" charset="0"/>
              </a:rPr>
              <a:t>INTERNAL</a:t>
            </a:r>
          </a:p>
        </p:txBody>
      </p:sp>
    </p:spTree>
    <p:extLst>
      <p:ext uri="{BB962C8B-B14F-4D97-AF65-F5344CB8AC3E}">
        <p14:creationId xmlns:p14="http://schemas.microsoft.com/office/powerpoint/2010/main" val="432736555"/>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Lst>
  <p:transition spd="slow">
    <p:push/>
  </p:transition>
  <p:txStyles>
    <p:titleStyle>
      <a:lvl1pPr algn="l" defTabSz="914378" rtl="0" eaLnBrk="1" latinLnBrk="0" hangingPunct="1">
        <a:spcBef>
          <a:spcPct val="0"/>
        </a:spcBef>
        <a:buNone/>
        <a:defRPr lang="de-DE" sz="2000" b="1" kern="1200" smtClean="0">
          <a:solidFill>
            <a:srgbClr val="FF8200"/>
          </a:solidFill>
          <a:latin typeface="Open Sans" panose="020B0606030504020204" pitchFamily="34" charset="0"/>
          <a:ea typeface="+mj-ea"/>
          <a:cs typeface="+mj-cs"/>
        </a:defRPr>
      </a:lvl1pPr>
    </p:titleStyle>
    <p:bodyStyle>
      <a:lvl1pPr marL="0" indent="0" algn="l" defTabSz="914378" rtl="0" eaLnBrk="1" latinLnBrk="0" hangingPunct="1">
        <a:spcBef>
          <a:spcPct val="20000"/>
        </a:spcBef>
        <a:spcAft>
          <a:spcPts val="1200"/>
        </a:spcAft>
        <a:buFont typeface="Arial" panose="020B0604020202020204" pitchFamily="34" charset="0"/>
        <a:buNone/>
        <a:defRPr lang="de-DE" sz="1400" b="1" kern="1200" dirty="0" smtClean="0">
          <a:solidFill>
            <a:srgbClr val="FF8200"/>
          </a:solidFill>
          <a:latin typeface="Open Sans" panose="020B0606030504020204" pitchFamily="34" charset="0"/>
          <a:ea typeface="+mn-ea"/>
          <a:cs typeface="+mn-cs"/>
        </a:defRPr>
      </a:lvl1pPr>
      <a:lvl2pPr marL="171450" indent="-171450" algn="l" defTabSz="914378" rtl="0" eaLnBrk="1" latinLnBrk="0" hangingPunct="1">
        <a:spcBef>
          <a:spcPct val="20000"/>
        </a:spcBef>
        <a:buFont typeface="Wingdings" panose="05000000000000000000" pitchFamily="2" charset="2"/>
        <a:buChar char="§"/>
        <a:defRPr lang="de-DE" sz="1100" kern="1200" dirty="0" smtClean="0">
          <a:solidFill>
            <a:srgbClr val="7C7C7C"/>
          </a:solidFill>
          <a:latin typeface="Open Sans" panose="020B0606030504020204" pitchFamily="34" charset="0"/>
          <a:ea typeface="+mn-ea"/>
          <a:cs typeface="+mn-cs"/>
        </a:defRPr>
      </a:lvl2pPr>
      <a:lvl3pPr marL="1142972" indent="-228594" algn="l" defTabSz="914378" rtl="0" eaLnBrk="1" latinLnBrk="0" hangingPunct="1">
        <a:spcBef>
          <a:spcPct val="20000"/>
        </a:spcBef>
        <a:buFont typeface="Wingdings" panose="05000000000000000000" pitchFamily="2" charset="2"/>
        <a:buChar char="§"/>
        <a:defRPr lang="de-DE" sz="1100" kern="1200" dirty="0" smtClean="0">
          <a:solidFill>
            <a:srgbClr val="7C7C7C"/>
          </a:solidFill>
          <a:latin typeface="Open Sans" panose="020B0606030504020204" pitchFamily="34" charset="0"/>
          <a:ea typeface="+mn-ea"/>
          <a:cs typeface="+mn-cs"/>
        </a:defRPr>
      </a:lvl3pPr>
      <a:lvl4pPr marL="533391" indent="-171450" algn="l" defTabSz="914378" rtl="0" eaLnBrk="1" latinLnBrk="0" hangingPunct="1">
        <a:spcBef>
          <a:spcPct val="20000"/>
        </a:spcBef>
        <a:buFont typeface="Wingdings" panose="05000000000000000000" pitchFamily="2" charset="2"/>
        <a:buChar char="§"/>
        <a:defRPr lang="de-DE" sz="1000" kern="1200" dirty="0" smtClean="0">
          <a:solidFill>
            <a:srgbClr val="7C7C7C"/>
          </a:solidFill>
          <a:latin typeface="Open Sans" panose="020B0606030504020204" pitchFamily="34" charset="0"/>
          <a:ea typeface="+mn-ea"/>
          <a:cs typeface="+mn-cs"/>
        </a:defRPr>
      </a:lvl4pPr>
      <a:lvl5pPr marL="711186" indent="-171450" algn="l" defTabSz="914378" rtl="0" eaLnBrk="1" latinLnBrk="0" hangingPunct="1">
        <a:spcBef>
          <a:spcPct val="20000"/>
        </a:spcBef>
        <a:buFont typeface="Wingdings" panose="05000000000000000000" pitchFamily="2" charset="2"/>
        <a:buChar char="§"/>
        <a:defRPr lang="en-US" sz="1000" kern="1200" dirty="0">
          <a:solidFill>
            <a:srgbClr val="7C7C7C"/>
          </a:solidFill>
          <a:latin typeface="Open Sans" panose="020B0606030504020204" pitchFamily="34" charset="0"/>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9.xml"/><Relationship Id="rId1" Type="http://schemas.openxmlformats.org/officeDocument/2006/relationships/tags" Target="../tags/tag11.xml"/><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9.xml"/><Relationship Id="rId1" Type="http://schemas.openxmlformats.org/officeDocument/2006/relationships/tags" Target="../tags/tag12.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Layout" Target="../slideLayouts/slideLayout9.xml"/><Relationship Id="rId1" Type="http://schemas.openxmlformats.org/officeDocument/2006/relationships/tags" Target="../tags/tag13.xml"/><Relationship Id="rId4"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9.xml"/><Relationship Id="rId1" Type="http://schemas.openxmlformats.org/officeDocument/2006/relationships/tags" Target="../tags/tag14.xml"/><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9.xml"/><Relationship Id="rId1" Type="http://schemas.openxmlformats.org/officeDocument/2006/relationships/tags" Target="../tags/tag15.xml"/></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Layout" Target="../slideLayouts/slideLayout9.xml"/><Relationship Id="rId1" Type="http://schemas.openxmlformats.org/officeDocument/2006/relationships/tags" Target="../tags/tag16.xml"/></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Layout" Target="../slideLayouts/slideLayout9.xml"/><Relationship Id="rId1" Type="http://schemas.openxmlformats.org/officeDocument/2006/relationships/tags" Target="../tags/tag17.xml"/><Relationship Id="rId4" Type="http://schemas.openxmlformats.org/officeDocument/2006/relationships/image" Target="../media/image44.png"/></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9.xml"/><Relationship Id="rId1" Type="http://schemas.openxmlformats.org/officeDocument/2006/relationships/tags" Target="../tags/tag18.xml"/></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9.xml"/><Relationship Id="rId1" Type="http://schemas.openxmlformats.org/officeDocument/2006/relationships/tags" Target="../tags/tag19.xml"/></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Layout" Target="../slideLayouts/slideLayout9.xml"/><Relationship Id="rId1" Type="http://schemas.openxmlformats.org/officeDocument/2006/relationships/tags" Target="../tags/tag2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xml"/><Relationship Id="rId1" Type="http://schemas.openxmlformats.org/officeDocument/2006/relationships/tags" Target="../tags/tag3.xml"/><Relationship Id="rId5" Type="http://schemas.openxmlformats.org/officeDocument/2006/relationships/image" Target="../media/image11.png"/><Relationship Id="rId4" Type="http://schemas.openxmlformats.org/officeDocument/2006/relationships/hyperlink" Target="https://github.com/"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Layout" Target="../slideLayouts/slideLayout9.xml"/><Relationship Id="rId1" Type="http://schemas.openxmlformats.org/officeDocument/2006/relationships/tags" Target="../tags/tag21.xml"/><Relationship Id="rId4" Type="http://schemas.openxmlformats.org/officeDocument/2006/relationships/image" Target="../media/image49.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9.xml"/><Relationship Id="rId1" Type="http://schemas.openxmlformats.org/officeDocument/2006/relationships/tags" Target="../tags/tag22.xml"/><Relationship Id="rId5" Type="http://schemas.openxmlformats.org/officeDocument/2006/relationships/image" Target="../media/image51.png"/><Relationship Id="rId4" Type="http://schemas.openxmlformats.org/officeDocument/2006/relationships/image" Target="../media/image50.png"/></Relationships>
</file>

<file path=ppt/slides/_rels/slide2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9.xml"/><Relationship Id="rId1" Type="http://schemas.openxmlformats.org/officeDocument/2006/relationships/tags" Target="../tags/tag23.xml"/></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Layout" Target="../slideLayouts/slideLayout9.xml"/><Relationship Id="rId1" Type="http://schemas.openxmlformats.org/officeDocument/2006/relationships/tags" Target="../tags/tag24.xml"/><Relationship Id="rId5" Type="http://schemas.openxmlformats.org/officeDocument/2006/relationships/image" Target="../media/image55.png"/><Relationship Id="rId4" Type="http://schemas.openxmlformats.org/officeDocument/2006/relationships/image" Target="../media/image54.png"/></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Layout" Target="../slideLayouts/slideLayout9.xml"/><Relationship Id="rId1" Type="http://schemas.openxmlformats.org/officeDocument/2006/relationships/tags" Target="../tags/tag25.xml"/></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Layout" Target="../slideLayouts/slideLayout9.xml"/><Relationship Id="rId1" Type="http://schemas.openxmlformats.org/officeDocument/2006/relationships/tags" Target="../tags/tag26.xml"/></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Layout" Target="../slideLayouts/slideLayout9.xml"/><Relationship Id="rId1" Type="http://schemas.openxmlformats.org/officeDocument/2006/relationships/tags" Target="../tags/tag27.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28.xml"/></Relationships>
</file>

<file path=ppt/slides/_rels/slide2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Layout" Target="../slideLayouts/slideLayout9.xml"/><Relationship Id="rId1" Type="http://schemas.openxmlformats.org/officeDocument/2006/relationships/tags" Target="../tags/tag29.xml"/></Relationships>
</file>

<file path=ppt/slides/_rels/slide2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9.xml"/><Relationship Id="rId1" Type="http://schemas.openxmlformats.org/officeDocument/2006/relationships/tags" Target="../tags/tag30.xm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3" Type="http://schemas.openxmlformats.org/officeDocument/2006/relationships/notesSlide" Target="../notesSlides/notesSlide2.xml"/><Relationship Id="rId7" Type="http://schemas.openxmlformats.org/officeDocument/2006/relationships/image" Target="../media/image15.svg"/><Relationship Id="rId12" Type="http://schemas.openxmlformats.org/officeDocument/2006/relationships/image" Target="../media/image20.png"/><Relationship Id="rId2" Type="http://schemas.openxmlformats.org/officeDocument/2006/relationships/slideLayout" Target="../slideLayouts/slideLayout9.xml"/><Relationship Id="rId1" Type="http://schemas.openxmlformats.org/officeDocument/2006/relationships/tags" Target="../tags/tag4.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13.svg"/><Relationship Id="rId15" Type="http://schemas.openxmlformats.org/officeDocument/2006/relationships/image" Target="../media/image23.sv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svg"/><Relationship Id="rId14" Type="http://schemas.openxmlformats.org/officeDocument/2006/relationships/image" Target="../media/image22.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xml"/><Relationship Id="rId1" Type="http://schemas.openxmlformats.org/officeDocument/2006/relationships/tags" Target="../tags/tag31.xml"/><Relationship Id="rId4" Type="http://schemas.openxmlformats.org/officeDocument/2006/relationships/image" Target="../media/image61.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32.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hyperlink" Target="https://www.w3schools.com/git/git_ignore.asp?remote=github"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slideLayout" Target="../slideLayouts/slideLayout9.xml"/><Relationship Id="rId1" Type="http://schemas.openxmlformats.org/officeDocument/2006/relationships/tags" Target="../tags/tag33.xml"/><Relationship Id="rId5" Type="http://schemas.openxmlformats.org/officeDocument/2006/relationships/image" Target="../media/image66.png"/><Relationship Id="rId4" Type="http://schemas.openxmlformats.org/officeDocument/2006/relationships/image" Target="../media/image65.png"/></Relationships>
</file>

<file path=ppt/slides/_rels/slide3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slideLayout" Target="../slideLayouts/slideLayout9.xml"/><Relationship Id="rId1" Type="http://schemas.openxmlformats.org/officeDocument/2006/relationships/tags" Target="../tags/tag34.xml"/><Relationship Id="rId4" Type="http://schemas.openxmlformats.org/officeDocument/2006/relationships/image" Target="../media/image68.png"/></Relationships>
</file>

<file path=ppt/slides/_rels/slide3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slideLayout" Target="../slideLayouts/slideLayout9.xml"/><Relationship Id="rId1" Type="http://schemas.openxmlformats.org/officeDocument/2006/relationships/tags" Target="../tags/tag35.xml"/><Relationship Id="rId4" Type="http://schemas.openxmlformats.org/officeDocument/2006/relationships/image" Target="../media/image70.png"/></Relationships>
</file>

<file path=ppt/slides/_rels/slide3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Layout" Target="../slideLayouts/slideLayout9.xml"/><Relationship Id="rId1" Type="http://schemas.openxmlformats.org/officeDocument/2006/relationships/tags" Target="../tags/tag36.xml"/></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Layout" Target="../slideLayouts/slideLayout9.xml"/><Relationship Id="rId1" Type="http://schemas.openxmlformats.org/officeDocument/2006/relationships/tags" Target="../tags/tag37.xml"/></Relationships>
</file>

<file path=ppt/slides/_rels/slide3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Layout" Target="../slideLayouts/slideLayout9.xml"/><Relationship Id="rId1" Type="http://schemas.openxmlformats.org/officeDocument/2006/relationships/tags" Target="../tags/tag38.xml"/></Relationships>
</file>

<file path=ppt/slides/_rels/slide3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slideLayout" Target="../slideLayouts/slideLayout9.xml"/><Relationship Id="rId1" Type="http://schemas.openxmlformats.org/officeDocument/2006/relationships/tags" Target="../tags/tag39.xml"/><Relationship Id="rId4" Type="http://schemas.openxmlformats.org/officeDocument/2006/relationships/image" Target="../media/image75.png"/></Relationships>
</file>

<file path=ppt/slides/_rels/slide3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Layout" Target="../slideLayouts/slideLayout9.xml"/><Relationship Id="rId1" Type="http://schemas.openxmlformats.org/officeDocument/2006/relationships/tags" Target="../tags/tag40.xml"/></Relationships>
</file>

<file path=ppt/slides/_rels/slide4.xml.rels><?xml version="1.0" encoding="UTF-8" standalone="yes"?>
<Relationships xmlns="http://schemas.openxmlformats.org/package/2006/relationships"><Relationship Id="rId3" Type="http://schemas.openxmlformats.org/officeDocument/2006/relationships/hyperlink" Target="https://desktop.github.com/" TargetMode="External"/><Relationship Id="rId2" Type="http://schemas.openxmlformats.org/officeDocument/2006/relationships/slideLayout" Target="../slideLayouts/slideLayout9.xml"/><Relationship Id="rId1" Type="http://schemas.openxmlformats.org/officeDocument/2006/relationships/tags" Target="../tags/tag5.xml"/><Relationship Id="rId4" Type="http://schemas.openxmlformats.org/officeDocument/2006/relationships/image" Target="../media/image24.png"/></Relationships>
</file>

<file path=ppt/slides/_rels/slide40.xml.rels><?xml version="1.0" encoding="UTF-8" standalone="yes"?>
<Relationships xmlns="http://schemas.openxmlformats.org/package/2006/relationships"><Relationship Id="rId3" Type="http://schemas.openxmlformats.org/officeDocument/2006/relationships/hyperlink" Target="https://docs.github.com/en/get-started/using-git/about-git" TargetMode="External"/><Relationship Id="rId2" Type="http://schemas.openxmlformats.org/officeDocument/2006/relationships/slideLayout" Target="../slideLayouts/slideLayout9.xml"/><Relationship Id="rId1" Type="http://schemas.openxmlformats.org/officeDocument/2006/relationships/tags" Target="../tags/tag41.xml"/><Relationship Id="rId4" Type="http://schemas.openxmlformats.org/officeDocument/2006/relationships/hyperlink" Target="https://www.w3schools.com/git/git_remote_getstarted.asp?remote=github" TargetMode="Externa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1.xml"/><Relationship Id="rId1" Type="http://schemas.openxmlformats.org/officeDocument/2006/relationships/tags" Target="../tags/tag4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6.xml"/><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9.xml"/><Relationship Id="rId1" Type="http://schemas.openxmlformats.org/officeDocument/2006/relationships/tags" Target="../tags/tag7.xml"/><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9.xml"/><Relationship Id="rId1" Type="http://schemas.openxmlformats.org/officeDocument/2006/relationships/tags" Target="../tags/tag8.xm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9.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9.xml"/><Relationship Id="rId1" Type="http://schemas.openxmlformats.org/officeDocument/2006/relationships/tags" Target="../tags/tag10.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8FCEBBE-DF82-2038-6A7D-84F912E75C30}"/>
              </a:ext>
            </a:extLst>
          </p:cNvPr>
          <p:cNvSpPr>
            <a:spLocks noGrp="1"/>
          </p:cNvSpPr>
          <p:nvPr>
            <p:ph type="title"/>
          </p:nvPr>
        </p:nvSpPr>
        <p:spPr>
          <a:xfrm>
            <a:off x="360000" y="2137047"/>
            <a:ext cx="8106019" cy="1046440"/>
          </a:xfrm>
        </p:spPr>
        <p:txBody>
          <a:bodyPr/>
          <a:lstStyle/>
          <a:p>
            <a:r>
              <a:rPr lang="de-DE" sz="3400" dirty="0"/>
              <a:t>Training GitHub</a:t>
            </a:r>
            <a:br>
              <a:rPr lang="de-DE" sz="3400" dirty="0"/>
            </a:br>
            <a:endParaRPr lang="de-DE" sz="3400" b="0" dirty="0"/>
          </a:p>
        </p:txBody>
      </p:sp>
    </p:spTree>
    <p:extLst>
      <p:ext uri="{BB962C8B-B14F-4D97-AF65-F5344CB8AC3E}">
        <p14:creationId xmlns:p14="http://schemas.microsoft.com/office/powerpoint/2010/main" val="1915407493"/>
      </p:ext>
    </p:extLst>
  </p:cSld>
  <p:clrMapOvr>
    <a:masterClrMapping/>
  </p:clrMapOvr>
  <p:transition spd="slow">
    <p:push/>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Clone repository from GitHub desktop</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3751352"/>
          </a:xfrm>
        </p:spPr>
        <p:txBody>
          <a:bodyPr/>
          <a:lstStyle/>
          <a:p>
            <a:endParaRPr lang="en-US" sz="1600" b="0" dirty="0">
              <a:solidFill>
                <a:srgbClr val="333333"/>
              </a:solidFill>
            </a:endParaRPr>
          </a:p>
          <a:p>
            <a:endParaRPr lang="en-US" sz="1600" b="0" dirty="0">
              <a:solidFill>
                <a:srgbClr val="333333"/>
              </a:solidFill>
            </a:endParaRPr>
          </a:p>
          <a:p>
            <a:endParaRPr lang="en-US" sz="1600" b="0"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60000" y="1041434"/>
            <a:ext cx="3413714" cy="2462213"/>
          </a:xfrm>
          <a:prstGeom prst="rect">
            <a:avLst/>
          </a:prstGeom>
          <a:noFill/>
        </p:spPr>
        <p:txBody>
          <a:bodyPr wrap="square">
            <a:spAutoFit/>
          </a:bodyPr>
          <a:lstStyle/>
          <a:p>
            <a:pPr marL="342900" indent="-342900" algn="just">
              <a:buClr>
                <a:srgbClr val="990000"/>
              </a:buClr>
              <a:buFont typeface="+mj-lt"/>
              <a:buAutoNum type="arabicPeriod"/>
            </a:pPr>
            <a:r>
              <a:rPr lang="en-US" sz="1400" b="0" dirty="0">
                <a:solidFill>
                  <a:schemeClr val="tx1"/>
                </a:solidFill>
                <a:latin typeface="Verdana" panose="020B0604030504040204" pitchFamily="34" charset="0"/>
                <a:ea typeface="Verdana" panose="020B0604030504040204" pitchFamily="34" charset="0"/>
              </a:rPr>
              <a:t>Click on File -&gt; Clone repository.</a:t>
            </a:r>
          </a:p>
          <a:p>
            <a:pPr marL="342900" indent="-342900" algn="just">
              <a:buClr>
                <a:srgbClr val="990000"/>
              </a:buClr>
              <a:buFont typeface="+mj-lt"/>
              <a:buAutoNum type="arabicPeriod"/>
            </a:pPr>
            <a:r>
              <a:rPr lang="en-US" sz="1400" dirty="0">
                <a:latin typeface="Verdana" panose="020B0604030504040204" pitchFamily="34" charset="0"/>
                <a:ea typeface="Verdana" panose="020B0604030504040204" pitchFamily="34" charset="0"/>
              </a:rPr>
              <a:t>Navigate to the URL tab and paste the HTTPS of your repository into the Repository URL field</a:t>
            </a:r>
          </a:p>
          <a:p>
            <a:pPr marL="342900" indent="-342900" algn="just">
              <a:buClr>
                <a:srgbClr val="990000"/>
              </a:buClr>
              <a:buFont typeface="+mj-lt"/>
              <a:buAutoNum type="arabicPeriod"/>
            </a:pPr>
            <a:r>
              <a:rPr lang="en-US" sz="1400" dirty="0">
                <a:latin typeface="Verdana" panose="020B0604030504040204" pitchFamily="34" charset="0"/>
                <a:ea typeface="Verdana" panose="020B0604030504040204" pitchFamily="34" charset="0"/>
              </a:rPr>
              <a:t>In the local path, select the location for the clone, and then click on ‘Clone’.</a:t>
            </a:r>
          </a:p>
          <a:p>
            <a:pPr marL="342900" indent="-342900" algn="just">
              <a:buClr>
                <a:srgbClr val="990000"/>
              </a:buClr>
              <a:buFont typeface="+mj-lt"/>
              <a:buAutoNum type="arabicPeriod"/>
            </a:pPr>
            <a:endParaRPr lang="en-US" sz="1400" dirty="0">
              <a:latin typeface="Verdana" panose="020B0604030504040204" pitchFamily="34" charset="0"/>
              <a:ea typeface="Verdana" panose="020B0604030504040204" pitchFamily="34" charset="0"/>
            </a:endParaRPr>
          </a:p>
          <a:p>
            <a:pPr marL="285750" indent="-285750" algn="just">
              <a:buClr>
                <a:srgbClr val="990000"/>
              </a:buClr>
              <a:buFont typeface="Wingdings" panose="05000000000000000000" pitchFamily="2" charset="2"/>
              <a:buChar char="§"/>
            </a:pPr>
            <a:endParaRPr lang="en-US" sz="1400" b="0" dirty="0">
              <a:solidFill>
                <a:schemeClr val="tx1"/>
              </a:solidFill>
              <a:latin typeface="Verdana" panose="020B0604030504040204" pitchFamily="34" charset="0"/>
              <a:ea typeface="Verdana" panose="020B0604030504040204" pitchFamily="34" charset="0"/>
            </a:endParaRPr>
          </a:p>
        </p:txBody>
      </p:sp>
      <p:grpSp>
        <p:nvGrpSpPr>
          <p:cNvPr id="16" name="Group 15">
            <a:extLst>
              <a:ext uri="{FF2B5EF4-FFF2-40B4-BE49-F238E27FC236}">
                <a16:creationId xmlns:a16="http://schemas.microsoft.com/office/drawing/2014/main" id="{CE4A8DFE-4BF3-3A84-E8E0-CE21AAA796BC}"/>
              </a:ext>
            </a:extLst>
          </p:cNvPr>
          <p:cNvGrpSpPr/>
          <p:nvPr/>
        </p:nvGrpSpPr>
        <p:grpSpPr>
          <a:xfrm>
            <a:off x="4572000" y="1032388"/>
            <a:ext cx="2641599" cy="3751352"/>
            <a:chOff x="12840074" y="2192518"/>
            <a:chExt cx="7128790" cy="9216143"/>
          </a:xfrm>
        </p:grpSpPr>
        <p:pic>
          <p:nvPicPr>
            <p:cNvPr id="17" name="Picture 16">
              <a:extLst>
                <a:ext uri="{FF2B5EF4-FFF2-40B4-BE49-F238E27FC236}">
                  <a16:creationId xmlns:a16="http://schemas.microsoft.com/office/drawing/2014/main" id="{A0A70C54-4373-D9F1-7811-AD583B63B0B1}"/>
                </a:ext>
              </a:extLst>
            </p:cNvPr>
            <p:cNvPicPr>
              <a:picLocks noChangeAspect="1"/>
            </p:cNvPicPr>
            <p:nvPr/>
          </p:nvPicPr>
          <p:blipFill>
            <a:blip r:embed="rId3"/>
            <a:stretch>
              <a:fillRect/>
            </a:stretch>
          </p:blipFill>
          <p:spPr>
            <a:xfrm>
              <a:off x="12840074" y="2192518"/>
              <a:ext cx="7128790" cy="4550661"/>
            </a:xfrm>
            <a:prstGeom prst="rect">
              <a:avLst/>
            </a:prstGeom>
          </p:spPr>
        </p:pic>
        <p:pic>
          <p:nvPicPr>
            <p:cNvPr id="18" name="Picture 17">
              <a:extLst>
                <a:ext uri="{FF2B5EF4-FFF2-40B4-BE49-F238E27FC236}">
                  <a16:creationId xmlns:a16="http://schemas.microsoft.com/office/drawing/2014/main" id="{27681F35-3CF8-7A17-696C-65C4882513E7}"/>
                </a:ext>
              </a:extLst>
            </p:cNvPr>
            <p:cNvPicPr>
              <a:picLocks noChangeAspect="1"/>
            </p:cNvPicPr>
            <p:nvPr/>
          </p:nvPicPr>
          <p:blipFill>
            <a:blip r:embed="rId4"/>
            <a:stretch>
              <a:fillRect/>
            </a:stretch>
          </p:blipFill>
          <p:spPr>
            <a:xfrm>
              <a:off x="12840074" y="7030225"/>
              <a:ext cx="7128790" cy="4378436"/>
            </a:xfrm>
            <a:prstGeom prst="rect">
              <a:avLst/>
            </a:prstGeom>
          </p:spPr>
        </p:pic>
      </p:grpSp>
    </p:spTree>
    <p:custDataLst>
      <p:tags r:id="rId1"/>
    </p:custDataLst>
    <p:extLst>
      <p:ext uri="{BB962C8B-B14F-4D97-AF65-F5344CB8AC3E}">
        <p14:creationId xmlns:p14="http://schemas.microsoft.com/office/powerpoint/2010/main" val="1074177815"/>
      </p:ext>
    </p:extLst>
  </p:cSld>
  <p:clrMapOvr>
    <a:masterClrMapping/>
  </p:clrMapOvr>
  <p:transition spd="slow">
    <p:push/>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How to import the local repository in GitHub desktop</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3751352"/>
          </a:xfrm>
        </p:spPr>
        <p:txBody>
          <a:bodyPr/>
          <a:lstStyle/>
          <a:p>
            <a:endParaRPr lang="en-US" sz="1600" b="0" dirty="0">
              <a:solidFill>
                <a:srgbClr val="333333"/>
              </a:solidFill>
            </a:endParaRPr>
          </a:p>
          <a:p>
            <a:endParaRPr lang="en-US" sz="1600" b="0" dirty="0">
              <a:solidFill>
                <a:srgbClr val="333333"/>
              </a:solidFill>
            </a:endParaRPr>
          </a:p>
          <a:p>
            <a:endParaRPr lang="en-US" sz="1600" b="0"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60000" y="1485919"/>
            <a:ext cx="3413714" cy="2031325"/>
          </a:xfrm>
          <a:prstGeom prst="rect">
            <a:avLst/>
          </a:prstGeom>
          <a:noFill/>
        </p:spPr>
        <p:txBody>
          <a:bodyPr wrap="square">
            <a:spAutoFit/>
          </a:bodyPr>
          <a:lstStyle/>
          <a:p>
            <a:pPr marL="342900" indent="-342900" algn="just">
              <a:buClr>
                <a:srgbClr val="990000"/>
              </a:buClr>
              <a:buFont typeface="+mj-lt"/>
              <a:buAutoNum type="arabicPeriod"/>
            </a:pPr>
            <a:r>
              <a:rPr lang="en-US" sz="1400" b="0" dirty="0">
                <a:solidFill>
                  <a:schemeClr val="tx1"/>
                </a:solidFill>
                <a:latin typeface="Verdana" panose="020B0604030504040204" pitchFamily="34" charset="0"/>
                <a:ea typeface="Verdana" panose="020B0604030504040204" pitchFamily="34" charset="0"/>
              </a:rPr>
              <a:t>With GitHub Desktop, we can have a good overview of the project files</a:t>
            </a:r>
          </a:p>
          <a:p>
            <a:pPr marL="342900" indent="-342900" algn="just">
              <a:buClr>
                <a:srgbClr val="990000"/>
              </a:buClr>
              <a:buFont typeface="+mj-lt"/>
              <a:buAutoNum type="arabicPeriod"/>
            </a:pPr>
            <a:r>
              <a:rPr lang="en-US" sz="1400" dirty="0">
                <a:latin typeface="Verdana" panose="020B0604030504040204" pitchFamily="34" charset="0"/>
                <a:ea typeface="Verdana" panose="020B0604030504040204" pitchFamily="34" charset="0"/>
              </a:rPr>
              <a:t>To import the cloned repository into GitHub Desktop: File -&gt; Add Local repository -&gt; Choose repository -&gt; Add repository.</a:t>
            </a:r>
          </a:p>
          <a:p>
            <a:pPr marL="342900" indent="-342900" algn="just">
              <a:buClr>
                <a:srgbClr val="990000"/>
              </a:buClr>
              <a:buFont typeface="+mj-lt"/>
              <a:buAutoNum type="arabicPeriod"/>
            </a:pPr>
            <a:endParaRPr lang="en-US" sz="1400" dirty="0">
              <a:latin typeface="Verdana" panose="020B0604030504040204" pitchFamily="34" charset="0"/>
              <a:ea typeface="Verdana" panose="020B0604030504040204" pitchFamily="34" charset="0"/>
            </a:endParaRPr>
          </a:p>
          <a:p>
            <a:pPr marL="285750" indent="-285750" algn="just">
              <a:buClr>
                <a:srgbClr val="990000"/>
              </a:buClr>
              <a:buFont typeface="Wingdings" panose="05000000000000000000" pitchFamily="2" charset="2"/>
              <a:buChar char="§"/>
            </a:pPr>
            <a:endParaRPr lang="en-US" sz="1400" b="0" dirty="0">
              <a:solidFill>
                <a:schemeClr val="tx1"/>
              </a:solidFill>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A3185CC3-4E1C-D3BF-1425-F0C420351EB9}"/>
              </a:ext>
            </a:extLst>
          </p:cNvPr>
          <p:cNvPicPr>
            <a:picLocks noChangeAspect="1"/>
          </p:cNvPicPr>
          <p:nvPr/>
        </p:nvPicPr>
        <p:blipFill rotWithShape="1">
          <a:blip r:embed="rId3"/>
          <a:srcRect t="3911" r="1" b="20058"/>
          <a:stretch/>
        </p:blipFill>
        <p:spPr>
          <a:xfrm>
            <a:off x="4141828" y="1485919"/>
            <a:ext cx="4270784" cy="2625193"/>
          </a:xfrm>
          <a:prstGeom prst="rect">
            <a:avLst/>
          </a:prstGeom>
        </p:spPr>
      </p:pic>
    </p:spTree>
    <p:custDataLst>
      <p:tags r:id="rId1"/>
    </p:custDataLst>
    <p:extLst>
      <p:ext uri="{BB962C8B-B14F-4D97-AF65-F5344CB8AC3E}">
        <p14:creationId xmlns:p14="http://schemas.microsoft.com/office/powerpoint/2010/main" val="2698558319"/>
      </p:ext>
    </p:extLst>
  </p:cSld>
  <p:clrMapOvr>
    <a:masterClrMapping/>
  </p:clrMapOvr>
  <p:transition spd="slow">
    <p:push/>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Create new file in local repository</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3751352"/>
          </a:xfrm>
        </p:spPr>
        <p:txBody>
          <a:bodyPr/>
          <a:lstStyle/>
          <a:p>
            <a:endParaRPr lang="en-US" sz="1600" b="0" dirty="0">
              <a:solidFill>
                <a:srgbClr val="333333"/>
              </a:solidFill>
            </a:endParaRPr>
          </a:p>
          <a:p>
            <a:endParaRPr lang="en-US" sz="1600" b="0" dirty="0">
              <a:solidFill>
                <a:srgbClr val="333333"/>
              </a:solidFill>
            </a:endParaRPr>
          </a:p>
          <a:p>
            <a:endParaRPr lang="en-US" sz="1600" b="0"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60000" y="1485919"/>
            <a:ext cx="3413714" cy="1600438"/>
          </a:xfrm>
          <a:prstGeom prst="rect">
            <a:avLst/>
          </a:prstGeom>
          <a:noFill/>
        </p:spPr>
        <p:txBody>
          <a:bodyPr wrap="square">
            <a:spAutoFit/>
          </a:bodyPr>
          <a:lstStyle/>
          <a:p>
            <a:pPr marL="342900" indent="-342900" algn="just">
              <a:buClr>
                <a:srgbClr val="990000"/>
              </a:buClr>
              <a:buFont typeface="+mj-lt"/>
              <a:buAutoNum type="arabicPeriod"/>
            </a:pPr>
            <a:r>
              <a:rPr lang="en-US" sz="1400" b="0" dirty="0">
                <a:solidFill>
                  <a:schemeClr val="tx1"/>
                </a:solidFill>
                <a:latin typeface="Verdana" panose="020B0604030504040204" pitchFamily="34" charset="0"/>
                <a:ea typeface="Verdana" panose="020B0604030504040204" pitchFamily="34" charset="0"/>
              </a:rPr>
              <a:t>Create a new file in local repository</a:t>
            </a:r>
          </a:p>
          <a:p>
            <a:pPr marL="342900" indent="-342900" algn="just">
              <a:buClr>
                <a:srgbClr val="990000"/>
              </a:buClr>
              <a:buFont typeface="+mj-lt"/>
              <a:buAutoNum type="arabicPeriod"/>
            </a:pPr>
            <a:r>
              <a:rPr lang="en-US" sz="1400" dirty="0">
                <a:latin typeface="Verdana" panose="020B0604030504040204" pitchFamily="34" charset="0"/>
                <a:ea typeface="Verdana" panose="020B0604030504040204" pitchFamily="34" charset="0"/>
              </a:rPr>
              <a:t>In GitHub Desktop, you can see the modifications; a new file has been added to the local repository</a:t>
            </a:r>
          </a:p>
          <a:p>
            <a:pPr marL="285750" indent="-285750" algn="just">
              <a:buClr>
                <a:srgbClr val="990000"/>
              </a:buClr>
              <a:buFont typeface="Wingdings" panose="05000000000000000000" pitchFamily="2" charset="2"/>
              <a:buChar char="§"/>
            </a:pPr>
            <a:endParaRPr lang="en-US" sz="1400" b="0" dirty="0">
              <a:solidFill>
                <a:schemeClr val="tx1"/>
              </a:solidFill>
              <a:latin typeface="Verdana" panose="020B0604030504040204" pitchFamily="34" charset="0"/>
              <a:ea typeface="Verdana" panose="020B0604030504040204" pitchFamily="34" charset="0"/>
            </a:endParaRPr>
          </a:p>
        </p:txBody>
      </p:sp>
      <p:grpSp>
        <p:nvGrpSpPr>
          <p:cNvPr id="5" name="Group 4">
            <a:extLst>
              <a:ext uri="{FF2B5EF4-FFF2-40B4-BE49-F238E27FC236}">
                <a16:creationId xmlns:a16="http://schemas.microsoft.com/office/drawing/2014/main" id="{9E761047-F822-219C-347F-F41B6056FFB9}"/>
              </a:ext>
            </a:extLst>
          </p:cNvPr>
          <p:cNvGrpSpPr/>
          <p:nvPr/>
        </p:nvGrpSpPr>
        <p:grpSpPr>
          <a:xfrm>
            <a:off x="4572000" y="1485919"/>
            <a:ext cx="3178628" cy="3297821"/>
            <a:chOff x="13128104" y="2967354"/>
            <a:chExt cx="8115096" cy="7753486"/>
          </a:xfrm>
        </p:grpSpPr>
        <p:pic>
          <p:nvPicPr>
            <p:cNvPr id="6" name="Picture 5" descr="A screenshot of a computer&#10;&#10;Description automatically generated">
              <a:extLst>
                <a:ext uri="{FF2B5EF4-FFF2-40B4-BE49-F238E27FC236}">
                  <a16:creationId xmlns:a16="http://schemas.microsoft.com/office/drawing/2014/main" id="{43148F4D-37F6-9D53-0DA6-0188407F177B}"/>
                </a:ext>
              </a:extLst>
            </p:cNvPr>
            <p:cNvPicPr>
              <a:picLocks noChangeAspect="1"/>
            </p:cNvPicPr>
            <p:nvPr/>
          </p:nvPicPr>
          <p:blipFill>
            <a:blip r:embed="rId3"/>
            <a:stretch>
              <a:fillRect/>
            </a:stretch>
          </p:blipFill>
          <p:spPr>
            <a:xfrm>
              <a:off x="13128104" y="2967354"/>
              <a:ext cx="8115096" cy="3026254"/>
            </a:xfrm>
            <a:prstGeom prst="rect">
              <a:avLst/>
            </a:prstGeom>
          </p:spPr>
        </p:pic>
        <p:pic>
          <p:nvPicPr>
            <p:cNvPr id="8" name="Picture 7" descr="A screenshot of a computer&#10;&#10;Description automatically generated">
              <a:extLst>
                <a:ext uri="{FF2B5EF4-FFF2-40B4-BE49-F238E27FC236}">
                  <a16:creationId xmlns:a16="http://schemas.microsoft.com/office/drawing/2014/main" id="{CA938388-E0F5-7942-F349-7AE3C0912120}"/>
                </a:ext>
              </a:extLst>
            </p:cNvPr>
            <p:cNvPicPr>
              <a:picLocks noChangeAspect="1"/>
            </p:cNvPicPr>
            <p:nvPr/>
          </p:nvPicPr>
          <p:blipFill>
            <a:blip r:embed="rId4"/>
            <a:stretch>
              <a:fillRect/>
            </a:stretch>
          </p:blipFill>
          <p:spPr>
            <a:xfrm>
              <a:off x="13128105" y="7785551"/>
              <a:ext cx="8115095" cy="2393953"/>
            </a:xfrm>
            <a:prstGeom prst="rect">
              <a:avLst/>
            </a:prstGeom>
          </p:spPr>
        </p:pic>
        <p:sp>
          <p:nvSpPr>
            <p:cNvPr id="9" name="Arrow: Up 8">
              <a:extLst>
                <a:ext uri="{FF2B5EF4-FFF2-40B4-BE49-F238E27FC236}">
                  <a16:creationId xmlns:a16="http://schemas.microsoft.com/office/drawing/2014/main" id="{7814E667-18E4-DDA4-9E02-9D490C371D34}"/>
                </a:ext>
              </a:extLst>
            </p:cNvPr>
            <p:cNvSpPr/>
            <p:nvPr/>
          </p:nvSpPr>
          <p:spPr>
            <a:xfrm>
              <a:off x="14136216" y="5425030"/>
              <a:ext cx="455232" cy="1010838"/>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rrow: Up 9">
              <a:extLst>
                <a:ext uri="{FF2B5EF4-FFF2-40B4-BE49-F238E27FC236}">
                  <a16:creationId xmlns:a16="http://schemas.microsoft.com/office/drawing/2014/main" id="{2DEB9C46-C5AC-02B8-B165-D906E546DA75}"/>
                </a:ext>
              </a:extLst>
            </p:cNvPr>
            <p:cNvSpPr/>
            <p:nvPr/>
          </p:nvSpPr>
          <p:spPr>
            <a:xfrm>
              <a:off x="13416136" y="9819114"/>
              <a:ext cx="425018" cy="901726"/>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ustDataLst>
      <p:tags r:id="rId1"/>
    </p:custDataLst>
    <p:extLst>
      <p:ext uri="{BB962C8B-B14F-4D97-AF65-F5344CB8AC3E}">
        <p14:creationId xmlns:p14="http://schemas.microsoft.com/office/powerpoint/2010/main" val="3882086060"/>
      </p:ext>
    </p:extLst>
  </p:cSld>
  <p:clrMapOvr>
    <a:masterClrMapping/>
  </p:clrMapOvr>
  <p:transition spd="slow">
    <p:push/>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Create first commit</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3751352"/>
          </a:xfrm>
        </p:spPr>
        <p:txBody>
          <a:bodyPr/>
          <a:lstStyle/>
          <a:p>
            <a:endParaRPr lang="en-US" sz="1600" b="0" dirty="0">
              <a:solidFill>
                <a:srgbClr val="333333"/>
              </a:solidFill>
            </a:endParaRPr>
          </a:p>
          <a:p>
            <a:endParaRPr lang="en-US" sz="1600" b="0" dirty="0">
              <a:solidFill>
                <a:srgbClr val="333333"/>
              </a:solidFill>
            </a:endParaRPr>
          </a:p>
          <a:p>
            <a:endParaRPr lang="en-US" sz="1600" b="0"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58358" y="1143019"/>
            <a:ext cx="3413714" cy="3323987"/>
          </a:xfrm>
          <a:prstGeom prst="rect">
            <a:avLst/>
          </a:prstGeom>
          <a:noFill/>
        </p:spPr>
        <p:txBody>
          <a:bodyPr wrap="square">
            <a:spAutoFit/>
          </a:bodyPr>
          <a:lstStyle/>
          <a:p>
            <a:pPr marL="342900" indent="-342900" algn="just">
              <a:buClr>
                <a:srgbClr val="990000"/>
              </a:buClr>
              <a:buFont typeface="+mj-lt"/>
              <a:buAutoNum type="arabicPeriod"/>
            </a:pPr>
            <a:r>
              <a:rPr lang="en-US" sz="1400" b="0" dirty="0">
                <a:solidFill>
                  <a:schemeClr val="tx1"/>
                </a:solidFill>
                <a:latin typeface="Verdana" panose="020B0604030504040204" pitchFamily="34" charset="0"/>
                <a:ea typeface="Verdana" panose="020B0604030504040204" pitchFamily="34" charset="0"/>
              </a:rPr>
              <a:t>Creates a commit, which is like a snapshot of your repository. These commits are snapshots of your entire repository at specific times. You should make new commits often, based around logical units of change. Over time, commits should tell a story of the history of your repository and how it came to be the way that it currently is.</a:t>
            </a:r>
          </a:p>
          <a:p>
            <a:pPr marL="342900" indent="-342900" algn="just">
              <a:buClr>
                <a:srgbClr val="990000"/>
              </a:buClr>
              <a:buFont typeface="+mj-lt"/>
              <a:buAutoNum type="arabicPeriod"/>
            </a:pPr>
            <a:r>
              <a:rPr lang="en-US" sz="1400" dirty="0">
                <a:latin typeface="Verdana" panose="020B0604030504040204" pitchFamily="34" charset="0"/>
                <a:ea typeface="Verdana" panose="020B0604030504040204" pitchFamily="34" charset="0"/>
              </a:rPr>
              <a:t>For every commit is necessary to add a title (Jira ID) and a description and press ‘Commit to main’.</a:t>
            </a:r>
          </a:p>
        </p:txBody>
      </p:sp>
      <p:grpSp>
        <p:nvGrpSpPr>
          <p:cNvPr id="11" name="Group 10">
            <a:extLst>
              <a:ext uri="{FF2B5EF4-FFF2-40B4-BE49-F238E27FC236}">
                <a16:creationId xmlns:a16="http://schemas.microsoft.com/office/drawing/2014/main" id="{F15F63BB-9C63-ED59-D40E-F305272F1A3D}"/>
              </a:ext>
            </a:extLst>
          </p:cNvPr>
          <p:cNvGrpSpPr/>
          <p:nvPr/>
        </p:nvGrpSpPr>
        <p:grpSpPr>
          <a:xfrm>
            <a:off x="4094005" y="1485919"/>
            <a:ext cx="4366429" cy="3057292"/>
            <a:chOff x="13591764" y="2979283"/>
            <a:chExt cx="9966947" cy="6525689"/>
          </a:xfrm>
        </p:grpSpPr>
        <p:pic>
          <p:nvPicPr>
            <p:cNvPr id="12" name="Content Placeholder 10">
              <a:extLst>
                <a:ext uri="{FF2B5EF4-FFF2-40B4-BE49-F238E27FC236}">
                  <a16:creationId xmlns:a16="http://schemas.microsoft.com/office/drawing/2014/main" id="{6A4C954C-5F71-3ED1-71A0-C41BC2A64394}"/>
                </a:ext>
              </a:extLst>
            </p:cNvPr>
            <p:cNvPicPr>
              <a:picLocks noChangeAspect="1"/>
            </p:cNvPicPr>
            <p:nvPr/>
          </p:nvPicPr>
          <p:blipFill>
            <a:blip r:embed="rId3"/>
            <a:stretch>
              <a:fillRect/>
            </a:stretch>
          </p:blipFill>
          <p:spPr>
            <a:xfrm>
              <a:off x="13593147" y="3989546"/>
              <a:ext cx="9965564" cy="4606361"/>
            </a:xfrm>
            <a:prstGeom prst="rect">
              <a:avLst/>
            </a:prstGeom>
          </p:spPr>
        </p:pic>
        <p:pic>
          <p:nvPicPr>
            <p:cNvPr id="13" name="Picture 12">
              <a:extLst>
                <a:ext uri="{FF2B5EF4-FFF2-40B4-BE49-F238E27FC236}">
                  <a16:creationId xmlns:a16="http://schemas.microsoft.com/office/drawing/2014/main" id="{EC80D6F7-FE81-1AD0-7EE8-75854C400D48}"/>
                </a:ext>
              </a:extLst>
            </p:cNvPr>
            <p:cNvPicPr>
              <a:picLocks noChangeAspect="1"/>
            </p:cNvPicPr>
            <p:nvPr/>
          </p:nvPicPr>
          <p:blipFill>
            <a:blip r:embed="rId4"/>
            <a:stretch>
              <a:fillRect/>
            </a:stretch>
          </p:blipFill>
          <p:spPr>
            <a:xfrm>
              <a:off x="13591764" y="2979283"/>
              <a:ext cx="9965220" cy="2391652"/>
            </a:xfrm>
            <a:prstGeom prst="rect">
              <a:avLst/>
            </a:prstGeom>
          </p:spPr>
        </p:pic>
        <p:sp>
          <p:nvSpPr>
            <p:cNvPr id="14" name="Arrow: Up 13">
              <a:extLst>
                <a:ext uri="{FF2B5EF4-FFF2-40B4-BE49-F238E27FC236}">
                  <a16:creationId xmlns:a16="http://schemas.microsoft.com/office/drawing/2014/main" id="{B6A3623B-03B7-89ED-6FA3-37FC4A0F2966}"/>
                </a:ext>
              </a:extLst>
            </p:cNvPr>
            <p:cNvSpPr/>
            <p:nvPr/>
          </p:nvSpPr>
          <p:spPr>
            <a:xfrm>
              <a:off x="18312680" y="8624829"/>
              <a:ext cx="375716" cy="880143"/>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ustDataLst>
      <p:tags r:id="rId1"/>
    </p:custDataLst>
    <p:extLst>
      <p:ext uri="{BB962C8B-B14F-4D97-AF65-F5344CB8AC3E}">
        <p14:creationId xmlns:p14="http://schemas.microsoft.com/office/powerpoint/2010/main" val="3267279724"/>
      </p:ext>
    </p:extLst>
  </p:cSld>
  <p:clrMapOvr>
    <a:masterClrMapping/>
  </p:clrMapOvr>
  <p:transition spd="slow">
    <p:push/>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Push the commit on remote repository</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3751352"/>
          </a:xfrm>
        </p:spPr>
        <p:txBody>
          <a:bodyPr/>
          <a:lstStyle/>
          <a:p>
            <a:endParaRPr lang="en-US" sz="1600" b="0" dirty="0">
              <a:solidFill>
                <a:srgbClr val="333333"/>
              </a:solidFill>
            </a:endParaRPr>
          </a:p>
          <a:p>
            <a:endParaRPr lang="en-US" sz="1600" b="0" dirty="0">
              <a:solidFill>
                <a:srgbClr val="333333"/>
              </a:solidFill>
            </a:endParaRPr>
          </a:p>
          <a:p>
            <a:endParaRPr lang="en-US" sz="1600" b="0"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59999" y="1335967"/>
            <a:ext cx="8420725" cy="1384995"/>
          </a:xfrm>
          <a:prstGeom prst="rect">
            <a:avLst/>
          </a:prstGeom>
          <a:noFill/>
        </p:spPr>
        <p:txBody>
          <a:bodyPr wrap="square">
            <a:spAutoFit/>
          </a:bodyPr>
          <a:lstStyle/>
          <a:p>
            <a:pPr marL="342900" indent="-342900" algn="just">
              <a:buClr>
                <a:srgbClr val="990000"/>
              </a:buClr>
              <a:buFont typeface="+mj-lt"/>
              <a:buAutoNum type="arabicPeriod"/>
            </a:pPr>
            <a:r>
              <a:rPr lang="en-US" sz="1400" b="0" dirty="0">
                <a:solidFill>
                  <a:schemeClr val="tx1"/>
                </a:solidFill>
                <a:latin typeface="Verdana" panose="020B0604030504040204" pitchFamily="34" charset="0"/>
                <a:ea typeface="Verdana" panose="020B0604030504040204" pitchFamily="34" charset="0"/>
              </a:rPr>
              <a:t>Navigate to the 'History' tab where you can view the commit. However, the file doesn’t exist in the repository on the server because the commit is created only on your local PC. To see the file in the remote repository, it's necessary to perform a 'Push’. </a:t>
            </a:r>
          </a:p>
          <a:p>
            <a:pPr marL="342900" indent="-342900" algn="just">
              <a:buClr>
                <a:srgbClr val="990000"/>
              </a:buClr>
              <a:buFont typeface="+mj-lt"/>
              <a:buAutoNum type="arabicPeriod"/>
            </a:pPr>
            <a:r>
              <a:rPr lang="en-US" sz="1400" dirty="0">
                <a:latin typeface="Verdana" panose="020B0604030504040204" pitchFamily="34" charset="0"/>
                <a:ea typeface="Verdana" panose="020B0604030504040204" pitchFamily="34" charset="0"/>
              </a:rPr>
              <a:t>The Git Push command is used to upload the content of a local repository to a remote repository. Pushing is the process of transferring commits from your local repository to a remote repository.</a:t>
            </a:r>
          </a:p>
        </p:txBody>
      </p:sp>
      <p:grpSp>
        <p:nvGrpSpPr>
          <p:cNvPr id="3" name="Group 2">
            <a:extLst>
              <a:ext uri="{FF2B5EF4-FFF2-40B4-BE49-F238E27FC236}">
                <a16:creationId xmlns:a16="http://schemas.microsoft.com/office/drawing/2014/main" id="{E5050A17-6175-C36A-4AA6-E1ACE86C438D}"/>
              </a:ext>
            </a:extLst>
          </p:cNvPr>
          <p:cNvGrpSpPr/>
          <p:nvPr/>
        </p:nvGrpSpPr>
        <p:grpSpPr>
          <a:xfrm>
            <a:off x="1458068" y="2720962"/>
            <a:ext cx="6224585" cy="1875227"/>
            <a:chOff x="5575528" y="8154144"/>
            <a:chExt cx="13232943" cy="4071719"/>
          </a:xfrm>
        </p:grpSpPr>
        <p:pic>
          <p:nvPicPr>
            <p:cNvPr id="5" name="Picture 4">
              <a:extLst>
                <a:ext uri="{FF2B5EF4-FFF2-40B4-BE49-F238E27FC236}">
                  <a16:creationId xmlns:a16="http://schemas.microsoft.com/office/drawing/2014/main" id="{CD722C68-648E-D0B4-7F39-C173904C40F5}"/>
                </a:ext>
              </a:extLst>
            </p:cNvPr>
            <p:cNvPicPr>
              <a:picLocks noChangeAspect="1"/>
            </p:cNvPicPr>
            <p:nvPr/>
          </p:nvPicPr>
          <p:blipFill>
            <a:blip r:embed="rId3"/>
            <a:stretch>
              <a:fillRect/>
            </a:stretch>
          </p:blipFill>
          <p:spPr>
            <a:xfrm>
              <a:off x="5575528" y="8805337"/>
              <a:ext cx="13232943" cy="3420526"/>
            </a:xfrm>
            <a:prstGeom prst="rect">
              <a:avLst/>
            </a:prstGeom>
          </p:spPr>
        </p:pic>
        <p:sp>
          <p:nvSpPr>
            <p:cNvPr id="6" name="Arrow: Down 5">
              <a:extLst>
                <a:ext uri="{FF2B5EF4-FFF2-40B4-BE49-F238E27FC236}">
                  <a16:creationId xmlns:a16="http://schemas.microsoft.com/office/drawing/2014/main" id="{B80C1C4A-C696-9BB8-F758-38C9EC30F528}"/>
                </a:ext>
              </a:extLst>
            </p:cNvPr>
            <p:cNvSpPr/>
            <p:nvPr/>
          </p:nvSpPr>
          <p:spPr bwMode="auto">
            <a:xfrm>
              <a:off x="15720392" y="8154144"/>
              <a:ext cx="576064" cy="1008112"/>
            </a:xfrm>
            <a:prstGeom prst="downArrow">
              <a:avLst/>
            </a:prstGeom>
            <a:solidFill>
              <a:srgbClr val="C00000"/>
            </a:solidFill>
            <a:ln>
              <a:noFill/>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endParaRPr>
            </a:p>
          </p:txBody>
        </p:sp>
      </p:grpSp>
    </p:spTree>
    <p:custDataLst>
      <p:tags r:id="rId1"/>
    </p:custDataLst>
    <p:extLst>
      <p:ext uri="{BB962C8B-B14F-4D97-AF65-F5344CB8AC3E}">
        <p14:creationId xmlns:p14="http://schemas.microsoft.com/office/powerpoint/2010/main" val="2253744238"/>
      </p:ext>
    </p:extLst>
  </p:cSld>
  <p:clrMapOvr>
    <a:masterClrMapping/>
  </p:clrMapOvr>
  <p:transition spd="slow">
    <p:push/>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Push more commits</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3751352"/>
          </a:xfrm>
        </p:spPr>
        <p:txBody>
          <a:bodyPr/>
          <a:lstStyle/>
          <a:p>
            <a:endParaRPr lang="en-US" sz="1600" b="0" dirty="0">
              <a:solidFill>
                <a:srgbClr val="333333"/>
              </a:solidFill>
            </a:endParaRPr>
          </a:p>
          <a:p>
            <a:endParaRPr lang="en-US" sz="1600" b="0" dirty="0">
              <a:solidFill>
                <a:srgbClr val="333333"/>
              </a:solidFill>
            </a:endParaRPr>
          </a:p>
          <a:p>
            <a:endParaRPr lang="en-US" sz="1600" b="0"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59999" y="1335967"/>
            <a:ext cx="8420725" cy="523220"/>
          </a:xfrm>
          <a:prstGeom prst="rect">
            <a:avLst/>
          </a:prstGeom>
          <a:noFill/>
        </p:spPr>
        <p:txBody>
          <a:bodyPr wrap="square">
            <a:spAutoFit/>
          </a:bodyPr>
          <a:lstStyle/>
          <a:p>
            <a:pPr marL="342900"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It's not necessary to push after every commit. You can create multiple commits and then push all of them to the remote repository at once.</a:t>
            </a:r>
          </a:p>
        </p:txBody>
      </p:sp>
      <p:pic>
        <p:nvPicPr>
          <p:cNvPr id="8" name="Picture 7">
            <a:extLst>
              <a:ext uri="{FF2B5EF4-FFF2-40B4-BE49-F238E27FC236}">
                <a16:creationId xmlns:a16="http://schemas.microsoft.com/office/drawing/2014/main" id="{36039E14-6070-CB82-B1F2-2A45D2342847}"/>
              </a:ext>
            </a:extLst>
          </p:cNvPr>
          <p:cNvPicPr>
            <a:picLocks noChangeAspect="1"/>
          </p:cNvPicPr>
          <p:nvPr/>
        </p:nvPicPr>
        <p:blipFill>
          <a:blip r:embed="rId3"/>
          <a:stretch>
            <a:fillRect/>
          </a:stretch>
        </p:blipFill>
        <p:spPr>
          <a:xfrm>
            <a:off x="899436" y="2440959"/>
            <a:ext cx="7341849" cy="1761008"/>
          </a:xfrm>
          <a:prstGeom prst="rect">
            <a:avLst/>
          </a:prstGeom>
        </p:spPr>
      </p:pic>
    </p:spTree>
    <p:custDataLst>
      <p:tags r:id="rId1"/>
    </p:custDataLst>
    <p:extLst>
      <p:ext uri="{BB962C8B-B14F-4D97-AF65-F5344CB8AC3E}">
        <p14:creationId xmlns:p14="http://schemas.microsoft.com/office/powerpoint/2010/main" val="2070801834"/>
      </p:ext>
    </p:extLst>
  </p:cSld>
  <p:clrMapOvr>
    <a:masterClrMapping/>
  </p:clrMapOvr>
  <p:transition spd="slow">
    <p:push/>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Modify a file in local repository</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3751352"/>
          </a:xfrm>
        </p:spPr>
        <p:txBody>
          <a:bodyPr/>
          <a:lstStyle/>
          <a:p>
            <a:endParaRPr lang="en-US" sz="1600" b="0" dirty="0">
              <a:solidFill>
                <a:srgbClr val="333333"/>
              </a:solidFill>
            </a:endParaRPr>
          </a:p>
          <a:p>
            <a:endParaRPr lang="en-US" sz="1600" b="0" dirty="0">
              <a:solidFill>
                <a:srgbClr val="333333"/>
              </a:solidFill>
            </a:endParaRPr>
          </a:p>
          <a:p>
            <a:endParaRPr lang="en-US" sz="1600" b="0"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59999" y="1089229"/>
            <a:ext cx="8420725" cy="523220"/>
          </a:xfrm>
          <a:prstGeom prst="rect">
            <a:avLst/>
          </a:prstGeom>
          <a:noFill/>
        </p:spPr>
        <p:txBody>
          <a:bodyPr wrap="square">
            <a:spAutoFit/>
          </a:bodyPr>
          <a:lstStyle/>
          <a:p>
            <a:pPr marL="342900"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If you modify any file in the local repository, GitHub Desktop automatically refreshes, allowing you to see the differences between the local and remote repositories.</a:t>
            </a:r>
          </a:p>
        </p:txBody>
      </p:sp>
      <p:pic>
        <p:nvPicPr>
          <p:cNvPr id="8" name="Picture 7">
            <a:extLst>
              <a:ext uri="{FF2B5EF4-FFF2-40B4-BE49-F238E27FC236}">
                <a16:creationId xmlns:a16="http://schemas.microsoft.com/office/drawing/2014/main" id="{1D4630E3-6BF1-649F-CB84-2446659FC1FE}"/>
              </a:ext>
            </a:extLst>
          </p:cNvPr>
          <p:cNvPicPr>
            <a:picLocks noChangeAspect="1"/>
          </p:cNvPicPr>
          <p:nvPr/>
        </p:nvPicPr>
        <p:blipFill>
          <a:blip r:embed="rId3"/>
          <a:stretch>
            <a:fillRect/>
          </a:stretch>
        </p:blipFill>
        <p:spPr>
          <a:xfrm>
            <a:off x="1693508" y="1683996"/>
            <a:ext cx="5753705" cy="847753"/>
          </a:xfrm>
          <a:prstGeom prst="rect">
            <a:avLst/>
          </a:prstGeom>
        </p:spPr>
      </p:pic>
      <p:sp>
        <p:nvSpPr>
          <p:cNvPr id="10" name="TextBox 9">
            <a:extLst>
              <a:ext uri="{FF2B5EF4-FFF2-40B4-BE49-F238E27FC236}">
                <a16:creationId xmlns:a16="http://schemas.microsoft.com/office/drawing/2014/main" id="{0FAA1357-BC94-88AC-BD8B-B1E596F4A36C}"/>
              </a:ext>
            </a:extLst>
          </p:cNvPr>
          <p:cNvSpPr txBox="1"/>
          <p:nvPr/>
        </p:nvSpPr>
        <p:spPr>
          <a:xfrm>
            <a:off x="582768" y="2470658"/>
            <a:ext cx="7975183" cy="1169551"/>
          </a:xfrm>
          <a:prstGeom prst="rect">
            <a:avLst/>
          </a:prstGeom>
          <a:noFill/>
        </p:spPr>
        <p:txBody>
          <a:bodyPr wrap="square">
            <a:spAutoFit/>
          </a:bodyPr>
          <a:lstStyle/>
          <a:p>
            <a:pPr marL="342900" indent="-342900" algn="just">
              <a:buClr>
                <a:srgbClr val="990000"/>
              </a:buClr>
              <a:buFont typeface="Wingdings" panose="05000000000000000000" pitchFamily="2" charset="2"/>
              <a:buChar char="§"/>
            </a:pPr>
            <a:r>
              <a:rPr lang="en-US" sz="1400" dirty="0">
                <a:latin typeface="Verdana" panose="020B0604030504040204" pitchFamily="34" charset="0"/>
                <a:ea typeface="Verdana" panose="020B0604030504040204" pitchFamily="34" charset="0"/>
              </a:rPr>
              <a:t>If you want to update the remote repository with a file, you need to create a new commit containing the changes and then push the commit to the remote repository.</a:t>
            </a:r>
          </a:p>
          <a:p>
            <a:pPr marL="342900" indent="-342900" algn="just">
              <a:buClr>
                <a:srgbClr val="990000"/>
              </a:buClr>
              <a:buFont typeface="Wingdings" panose="05000000000000000000" pitchFamily="2" charset="2"/>
              <a:buChar char="§"/>
            </a:pPr>
            <a:r>
              <a:rPr lang="en-US" sz="1400" dirty="0">
                <a:latin typeface="Verdana" panose="020B0604030504040204" pitchFamily="34" charset="0"/>
                <a:ea typeface="Verdana" panose="020B0604030504040204" pitchFamily="34" charset="0"/>
              </a:rPr>
              <a:t>To revert the changes for a file and discard them from the remote repository, you should right-click on the file and select 'Discard changes'</a:t>
            </a:r>
          </a:p>
        </p:txBody>
      </p:sp>
      <p:pic>
        <p:nvPicPr>
          <p:cNvPr id="11" name="Picture 10">
            <a:extLst>
              <a:ext uri="{FF2B5EF4-FFF2-40B4-BE49-F238E27FC236}">
                <a16:creationId xmlns:a16="http://schemas.microsoft.com/office/drawing/2014/main" id="{8F15416A-91FA-11D4-EC85-E74D0081C083}"/>
              </a:ext>
            </a:extLst>
          </p:cNvPr>
          <p:cNvPicPr>
            <a:picLocks noChangeAspect="1"/>
          </p:cNvPicPr>
          <p:nvPr/>
        </p:nvPicPr>
        <p:blipFill>
          <a:blip r:embed="rId4"/>
          <a:stretch>
            <a:fillRect/>
          </a:stretch>
        </p:blipFill>
        <p:spPr>
          <a:xfrm>
            <a:off x="2192953" y="3697913"/>
            <a:ext cx="4758093" cy="1157374"/>
          </a:xfrm>
          <a:prstGeom prst="rect">
            <a:avLst/>
          </a:prstGeom>
        </p:spPr>
      </p:pic>
    </p:spTree>
    <p:custDataLst>
      <p:tags r:id="rId1"/>
    </p:custDataLst>
    <p:extLst>
      <p:ext uri="{BB962C8B-B14F-4D97-AF65-F5344CB8AC3E}">
        <p14:creationId xmlns:p14="http://schemas.microsoft.com/office/powerpoint/2010/main" val="4121167112"/>
      </p:ext>
    </p:extLst>
  </p:cSld>
  <p:clrMapOvr>
    <a:masterClrMapping/>
  </p:clrMapOvr>
  <p:transition spd="slow">
    <p:push/>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Discard all files from a folder</a:t>
            </a:r>
            <a:endParaRPr lang="de-DE"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60000" y="1041434"/>
            <a:ext cx="3413714" cy="2677656"/>
          </a:xfrm>
          <a:prstGeom prst="rect">
            <a:avLst/>
          </a:prstGeom>
          <a:noFill/>
        </p:spPr>
        <p:txBody>
          <a:bodyPr wrap="square">
            <a:spAutoFit/>
          </a:bodyPr>
          <a:lstStyle/>
          <a:p>
            <a:pPr marL="342900"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In </a:t>
            </a:r>
            <a:r>
              <a:rPr lang="en-US" sz="1400" b="0" dirty="0" err="1">
                <a:solidFill>
                  <a:schemeClr val="tx1"/>
                </a:solidFill>
                <a:latin typeface="Verdana" panose="020B0604030504040204" pitchFamily="34" charset="0"/>
                <a:ea typeface="Verdana" panose="020B0604030504040204" pitchFamily="34" charset="0"/>
              </a:rPr>
              <a:t>TortoiseGit</a:t>
            </a:r>
            <a:r>
              <a:rPr lang="en-US" sz="1400" b="0" dirty="0">
                <a:solidFill>
                  <a:schemeClr val="tx1"/>
                </a:solidFill>
                <a:latin typeface="Verdana" panose="020B0604030504040204" pitchFamily="34" charset="0"/>
                <a:ea typeface="Verdana" panose="020B0604030504040204" pitchFamily="34" charset="0"/>
              </a:rPr>
              <a:t>, you can revert changes by selecting a folder, right-clicking, and choosing 'Revert'. This command can be used for a single file or for an entire folder, reverting all files within it. All files in the folder will be overwritten with the latest version from the branch in the remote repository.</a:t>
            </a:r>
          </a:p>
          <a:p>
            <a:pPr algn="just">
              <a:buClr>
                <a:srgbClr val="990000"/>
              </a:buClr>
            </a:pPr>
            <a:endParaRPr lang="en-US" sz="1400" dirty="0">
              <a:latin typeface="Verdana" panose="020B0604030504040204" pitchFamily="34" charset="0"/>
              <a:ea typeface="Verdana" panose="020B0604030504040204" pitchFamily="34" charset="0"/>
            </a:endParaRPr>
          </a:p>
          <a:p>
            <a:pPr marL="285750" indent="-285750" algn="just">
              <a:buClr>
                <a:srgbClr val="990000"/>
              </a:buClr>
              <a:buFont typeface="Wingdings" panose="05000000000000000000" pitchFamily="2" charset="2"/>
              <a:buChar char="§"/>
            </a:pPr>
            <a:endParaRPr lang="en-US" sz="1400" b="0" dirty="0">
              <a:solidFill>
                <a:schemeClr val="tx1"/>
              </a:solidFill>
              <a:latin typeface="Verdana" panose="020B0604030504040204" pitchFamily="34" charset="0"/>
              <a:ea typeface="Verdana" panose="020B0604030504040204" pitchFamily="34" charset="0"/>
            </a:endParaRPr>
          </a:p>
        </p:txBody>
      </p:sp>
      <p:pic>
        <p:nvPicPr>
          <p:cNvPr id="6" name="Picture 5">
            <a:extLst>
              <a:ext uri="{FF2B5EF4-FFF2-40B4-BE49-F238E27FC236}">
                <a16:creationId xmlns:a16="http://schemas.microsoft.com/office/drawing/2014/main" id="{650B9B22-0D63-B4B7-4A8D-3A42773CA6E8}"/>
              </a:ext>
            </a:extLst>
          </p:cNvPr>
          <p:cNvPicPr>
            <a:picLocks noChangeAspect="1"/>
          </p:cNvPicPr>
          <p:nvPr/>
        </p:nvPicPr>
        <p:blipFill>
          <a:blip r:embed="rId3"/>
          <a:stretch>
            <a:fillRect/>
          </a:stretch>
        </p:blipFill>
        <p:spPr>
          <a:xfrm>
            <a:off x="4572000" y="1041434"/>
            <a:ext cx="3482712" cy="3759808"/>
          </a:xfrm>
          <a:prstGeom prst="rect">
            <a:avLst/>
          </a:prstGeom>
        </p:spPr>
      </p:pic>
    </p:spTree>
    <p:custDataLst>
      <p:tags r:id="rId1"/>
    </p:custDataLst>
    <p:extLst>
      <p:ext uri="{BB962C8B-B14F-4D97-AF65-F5344CB8AC3E}">
        <p14:creationId xmlns:p14="http://schemas.microsoft.com/office/powerpoint/2010/main" val="50527276"/>
      </p:ext>
    </p:extLst>
  </p:cSld>
  <p:clrMapOvr>
    <a:masterClrMapping/>
  </p:clrMapOvr>
  <p:transition spd="slow">
    <p:push/>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Squash commits</a:t>
            </a:r>
            <a:endParaRPr lang="de-DE"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59999" y="730284"/>
            <a:ext cx="5765029" cy="4832092"/>
          </a:xfrm>
          <a:prstGeom prst="rect">
            <a:avLst/>
          </a:prstGeom>
          <a:noFill/>
        </p:spPr>
        <p:txBody>
          <a:bodyPr wrap="square">
            <a:spAutoFit/>
          </a:bodyPr>
          <a:lstStyle/>
          <a:p>
            <a:pPr marL="342900"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When working on a project and implementing a new feature, it's common to commit your code multiple times to test different aspects. This allows you to assess how the code functions or appears in various stages of development.</a:t>
            </a:r>
          </a:p>
          <a:p>
            <a:pPr marL="342900"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While doing this, the development process might become messy as you accumulate multiple commits, including ones for changes that may not be essential.</a:t>
            </a:r>
          </a:p>
          <a:p>
            <a:pPr marL="342900"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Because of this, you might want to combine all those commits into a single commit, a process known as commit squashing. It's important to note that you should squash commits only for your branch, not for the main branch</a:t>
            </a:r>
          </a:p>
          <a:p>
            <a:pPr marL="342900" indent="-342900" algn="just">
              <a:buClr>
                <a:srgbClr val="990000"/>
              </a:buClr>
              <a:buFont typeface="Wingdings" panose="05000000000000000000" pitchFamily="2" charset="2"/>
              <a:buChar char="§"/>
            </a:pPr>
            <a:r>
              <a:rPr lang="en-US" sz="1400" b="0" dirty="0">
                <a:solidFill>
                  <a:srgbClr val="FF0000"/>
                </a:solidFill>
                <a:latin typeface="Verdana" panose="020B0604030504040204" pitchFamily="34" charset="0"/>
                <a:ea typeface="Verdana" panose="020B0604030504040204" pitchFamily="34" charset="0"/>
              </a:rPr>
              <a:t>Warning</a:t>
            </a:r>
            <a:r>
              <a:rPr lang="en-US" sz="1400" b="0" dirty="0">
                <a:solidFill>
                  <a:schemeClr val="tx1"/>
                </a:solidFill>
                <a:latin typeface="Verdana" panose="020B0604030504040204" pitchFamily="34" charset="0"/>
                <a:ea typeface="Verdana" panose="020B0604030504040204" pitchFamily="34" charset="0"/>
              </a:rPr>
              <a:t> ! To squash a commit that has already been pushed to the remote repository, you'll need to perform a force push to overwrite the commit history in the remote repository. However, it's important to note that for protected branches, a force push cannot be executed.</a:t>
            </a:r>
          </a:p>
          <a:p>
            <a:pPr algn="just">
              <a:buClr>
                <a:srgbClr val="990000"/>
              </a:buClr>
            </a:pPr>
            <a:endParaRPr lang="en-US" sz="1400" b="0" dirty="0">
              <a:solidFill>
                <a:schemeClr val="tx1"/>
              </a:solidFill>
              <a:latin typeface="Verdana" panose="020B0604030504040204" pitchFamily="34" charset="0"/>
              <a:ea typeface="Verdana" panose="020B0604030504040204" pitchFamily="34" charset="0"/>
            </a:endParaRPr>
          </a:p>
          <a:p>
            <a:pPr marL="342900" indent="-342900" algn="just">
              <a:buClr>
                <a:srgbClr val="990000"/>
              </a:buClr>
              <a:buFont typeface="Wingdings" panose="05000000000000000000" pitchFamily="2" charset="2"/>
              <a:buChar char="§"/>
            </a:pPr>
            <a:endParaRPr lang="en-US" sz="1400" b="0" dirty="0">
              <a:solidFill>
                <a:schemeClr val="tx1"/>
              </a:solidFill>
              <a:latin typeface="Verdana" panose="020B0604030504040204" pitchFamily="34" charset="0"/>
              <a:ea typeface="Verdana" panose="020B0604030504040204" pitchFamily="34" charset="0"/>
            </a:endParaRPr>
          </a:p>
          <a:p>
            <a:pPr algn="just">
              <a:buClr>
                <a:srgbClr val="990000"/>
              </a:buClr>
            </a:pPr>
            <a:endParaRPr lang="en-US" sz="1400" dirty="0">
              <a:latin typeface="Verdana" panose="020B0604030504040204" pitchFamily="34" charset="0"/>
              <a:ea typeface="Verdana" panose="020B0604030504040204" pitchFamily="34" charset="0"/>
            </a:endParaRPr>
          </a:p>
          <a:p>
            <a:pPr marL="285750" indent="-285750" algn="just">
              <a:buClr>
                <a:srgbClr val="990000"/>
              </a:buClr>
              <a:buFont typeface="Wingdings" panose="05000000000000000000" pitchFamily="2" charset="2"/>
              <a:buChar char="§"/>
            </a:pPr>
            <a:endParaRPr lang="en-US" sz="1400" b="0" dirty="0">
              <a:solidFill>
                <a:schemeClr val="tx1"/>
              </a:solidFill>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8C0BC3D9-0E23-65D9-165B-D14BB288D191}"/>
              </a:ext>
            </a:extLst>
          </p:cNvPr>
          <p:cNvPicPr>
            <a:picLocks noChangeAspect="1"/>
          </p:cNvPicPr>
          <p:nvPr/>
        </p:nvPicPr>
        <p:blipFill>
          <a:blip r:embed="rId3"/>
          <a:stretch>
            <a:fillRect/>
          </a:stretch>
        </p:blipFill>
        <p:spPr>
          <a:xfrm>
            <a:off x="6255657" y="1041434"/>
            <a:ext cx="2668525" cy="1307577"/>
          </a:xfrm>
          <a:prstGeom prst="rect">
            <a:avLst/>
          </a:prstGeom>
        </p:spPr>
      </p:pic>
    </p:spTree>
    <p:custDataLst>
      <p:tags r:id="rId1"/>
    </p:custDataLst>
    <p:extLst>
      <p:ext uri="{BB962C8B-B14F-4D97-AF65-F5344CB8AC3E}">
        <p14:creationId xmlns:p14="http://schemas.microsoft.com/office/powerpoint/2010/main" val="1373180674"/>
      </p:ext>
    </p:extLst>
  </p:cSld>
  <p:clrMapOvr>
    <a:masterClrMapping/>
  </p:clrMapOvr>
  <p:transition spd="slow">
    <p:push/>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Amending a commit</a:t>
            </a:r>
            <a:endParaRPr lang="de-DE"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59999" y="1041434"/>
            <a:ext cx="5765029" cy="4401205"/>
          </a:xfrm>
          <a:prstGeom prst="rect">
            <a:avLst/>
          </a:prstGeom>
          <a:noFill/>
        </p:spPr>
        <p:txBody>
          <a:bodyPr wrap="square">
            <a:spAutoFit/>
          </a:bodyPr>
          <a:lstStyle/>
          <a:p>
            <a:pPr marL="342900"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Amending a commit is a way to modify the most recent commit you have made in your current branch. This can be helpful if you need to edit the commit message or if you forgot to include changes in the commit. When you amend a commit, you replace the previous commit with a new commit to your current branch.</a:t>
            </a:r>
          </a:p>
          <a:p>
            <a:pPr marL="342900"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If possible, you should only amend a commit that you haven't pushed to the remote repository. To amend a commit that has been pushed to the remote repository, you will need to use a force push to overwrite the commit history in the remote repository. Overwriting commit history may cause confusion for other collaborators working with the repository, because they may have already based work on the commit you have amended.</a:t>
            </a:r>
          </a:p>
          <a:p>
            <a:pPr marL="342900" indent="-342900" algn="just">
              <a:buClr>
                <a:srgbClr val="990000"/>
              </a:buClr>
              <a:buFont typeface="Wingdings" panose="05000000000000000000" pitchFamily="2" charset="2"/>
              <a:buChar char="§"/>
            </a:pPr>
            <a:r>
              <a:rPr lang="en-US" sz="1400" b="0" dirty="0">
                <a:solidFill>
                  <a:srgbClr val="FF0000"/>
                </a:solidFill>
                <a:latin typeface="Verdana" panose="020B0604030504040204" pitchFamily="34" charset="0"/>
                <a:ea typeface="Verdana" panose="020B0604030504040204" pitchFamily="34" charset="0"/>
              </a:rPr>
              <a:t>Warning</a:t>
            </a:r>
            <a:r>
              <a:rPr lang="en-US" sz="1400" b="0" dirty="0">
                <a:solidFill>
                  <a:schemeClr val="tx1"/>
                </a:solidFill>
                <a:latin typeface="Verdana" panose="020B0604030504040204" pitchFamily="34" charset="0"/>
                <a:ea typeface="Verdana" panose="020B0604030504040204" pitchFamily="34" charset="0"/>
              </a:rPr>
              <a:t> ! It is recommended only for your branch, not for main !</a:t>
            </a:r>
          </a:p>
          <a:p>
            <a:pPr algn="just">
              <a:buClr>
                <a:srgbClr val="990000"/>
              </a:buClr>
            </a:pPr>
            <a:endParaRPr lang="en-US" sz="1400" b="0" dirty="0">
              <a:solidFill>
                <a:schemeClr val="tx1"/>
              </a:solidFill>
              <a:latin typeface="Verdana" panose="020B0604030504040204" pitchFamily="34" charset="0"/>
              <a:ea typeface="Verdana" panose="020B0604030504040204" pitchFamily="34" charset="0"/>
            </a:endParaRPr>
          </a:p>
          <a:p>
            <a:pPr marL="342900" indent="-342900" algn="just">
              <a:buClr>
                <a:srgbClr val="990000"/>
              </a:buClr>
              <a:buFont typeface="Wingdings" panose="05000000000000000000" pitchFamily="2" charset="2"/>
              <a:buChar char="§"/>
            </a:pPr>
            <a:endParaRPr lang="en-US" sz="1400" b="0" dirty="0">
              <a:solidFill>
                <a:schemeClr val="tx1"/>
              </a:solidFill>
              <a:latin typeface="Verdana" panose="020B0604030504040204" pitchFamily="34" charset="0"/>
              <a:ea typeface="Verdana" panose="020B0604030504040204" pitchFamily="34" charset="0"/>
            </a:endParaRPr>
          </a:p>
          <a:p>
            <a:pPr algn="just">
              <a:buClr>
                <a:srgbClr val="990000"/>
              </a:buClr>
            </a:pPr>
            <a:endParaRPr lang="en-US" sz="1400" dirty="0">
              <a:latin typeface="Verdana" panose="020B0604030504040204" pitchFamily="34" charset="0"/>
              <a:ea typeface="Verdana" panose="020B0604030504040204" pitchFamily="34" charset="0"/>
            </a:endParaRPr>
          </a:p>
          <a:p>
            <a:pPr marL="285750" indent="-285750" algn="just">
              <a:buClr>
                <a:srgbClr val="990000"/>
              </a:buClr>
              <a:buFont typeface="Wingdings" panose="05000000000000000000" pitchFamily="2" charset="2"/>
              <a:buChar char="§"/>
            </a:pPr>
            <a:endParaRPr lang="en-US" sz="1400" b="0" dirty="0">
              <a:solidFill>
                <a:schemeClr val="tx1"/>
              </a:solidFill>
              <a:latin typeface="Verdana" panose="020B0604030504040204" pitchFamily="34" charset="0"/>
              <a:ea typeface="Verdana" panose="020B0604030504040204" pitchFamily="34" charset="0"/>
            </a:endParaRPr>
          </a:p>
        </p:txBody>
      </p:sp>
      <p:pic>
        <p:nvPicPr>
          <p:cNvPr id="4" name="Picture 3">
            <a:extLst>
              <a:ext uri="{FF2B5EF4-FFF2-40B4-BE49-F238E27FC236}">
                <a16:creationId xmlns:a16="http://schemas.microsoft.com/office/drawing/2014/main" id="{D43F4434-D786-D2A0-E1BB-ADE6C39BD627}"/>
              </a:ext>
            </a:extLst>
          </p:cNvPr>
          <p:cNvPicPr>
            <a:picLocks noChangeAspect="1"/>
          </p:cNvPicPr>
          <p:nvPr/>
        </p:nvPicPr>
        <p:blipFill>
          <a:blip r:embed="rId3"/>
          <a:stretch>
            <a:fillRect/>
          </a:stretch>
        </p:blipFill>
        <p:spPr>
          <a:xfrm>
            <a:off x="6125028" y="1041434"/>
            <a:ext cx="2902761" cy="2066288"/>
          </a:xfrm>
          <a:prstGeom prst="rect">
            <a:avLst/>
          </a:prstGeom>
        </p:spPr>
      </p:pic>
    </p:spTree>
    <p:custDataLst>
      <p:tags r:id="rId1"/>
    </p:custDataLst>
    <p:extLst>
      <p:ext uri="{BB962C8B-B14F-4D97-AF65-F5344CB8AC3E}">
        <p14:creationId xmlns:p14="http://schemas.microsoft.com/office/powerpoint/2010/main" val="2085268392"/>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What</a:t>
            </a:r>
            <a:r>
              <a:rPr lang="de-DE" dirty="0"/>
              <a:t> </a:t>
            </a:r>
            <a:r>
              <a:rPr lang="en-US" dirty="0"/>
              <a:t>is</a:t>
            </a:r>
            <a:r>
              <a:rPr lang="de-DE" dirty="0"/>
              <a:t> </a:t>
            </a:r>
            <a:r>
              <a:rPr lang="en-US" dirty="0"/>
              <a:t>GitHub</a:t>
            </a:r>
            <a:r>
              <a:rPr lang="de-DE" dirty="0"/>
              <a:t>?</a:t>
            </a:r>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p:txBody>
          <a:bodyPr/>
          <a:lstStyle/>
          <a:p>
            <a:pPr marL="285750" indent="-285750" algn="just">
              <a:buClr>
                <a:srgbClr val="990000"/>
              </a:buClr>
              <a:buFont typeface="Wingdings" panose="05000000000000000000" pitchFamily="2" charset="2"/>
              <a:buChar char="§"/>
            </a:pPr>
            <a:r>
              <a:rPr lang="en-US" sz="1400" b="0" dirty="0">
                <a:solidFill>
                  <a:schemeClr val="tx1"/>
                </a:solidFill>
                <a:hlinkClick r:id="rId4"/>
              </a:rPr>
              <a:t>GitHub</a:t>
            </a:r>
            <a:r>
              <a:rPr lang="en-US" sz="1400" b="0" dirty="0">
                <a:solidFill>
                  <a:schemeClr val="tx1"/>
                </a:solidFill>
              </a:rPr>
              <a:t> is a web-based platform for the dissemination of free and open-source software.</a:t>
            </a:r>
          </a:p>
          <a:p>
            <a:pPr marL="285750" indent="-285750" algn="just">
              <a:buClr>
                <a:srgbClr val="990000"/>
              </a:buClr>
              <a:buFont typeface="Wingdings" panose="05000000000000000000" pitchFamily="2" charset="2"/>
              <a:buChar char="§"/>
            </a:pPr>
            <a:endParaRPr lang="en-US" sz="1600" b="0" dirty="0">
              <a:solidFill>
                <a:schemeClr val="tx1"/>
              </a:solidFill>
            </a:endParaRPr>
          </a:p>
          <a:p>
            <a:pPr marL="285750" indent="-28575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cs typeface="Verdana" panose="020B0604030504040204" pitchFamily="34" charset="0"/>
              </a:rPr>
              <a:t>Install GitHub</a:t>
            </a:r>
          </a:p>
          <a:p>
            <a:pPr marL="819141" lvl="3" indent="-285750" algn="just">
              <a:buClr>
                <a:srgbClr val="990000"/>
              </a:buClr>
            </a:pPr>
            <a:r>
              <a:rPr lang="en-US" sz="1200" dirty="0">
                <a:cs typeface="Verdana" panose="020B0604030504040204" pitchFamily="34" charset="0"/>
              </a:rPr>
              <a:t>Install newest version of GitHub Git and </a:t>
            </a:r>
            <a:r>
              <a:rPr lang="en-US" sz="1200" dirty="0" err="1">
                <a:cs typeface="Verdana" panose="020B0604030504040204" pitchFamily="34" charset="0"/>
              </a:rPr>
              <a:t>TortoiseGit</a:t>
            </a:r>
            <a:r>
              <a:rPr lang="en-US" sz="1200" dirty="0">
                <a:cs typeface="Verdana" panose="020B0604030504040204" pitchFamily="34" charset="0"/>
              </a:rPr>
              <a:t>:</a:t>
            </a:r>
          </a:p>
          <a:p>
            <a:pPr marL="393750" lvl="2" indent="-285750" algn="just">
              <a:buClr>
                <a:srgbClr val="990000"/>
              </a:buClr>
            </a:pPr>
            <a:endParaRPr lang="en-US" sz="16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endParaRPr lang="en-US" b="0" dirty="0"/>
          </a:p>
        </p:txBody>
      </p:sp>
      <p:pic>
        <p:nvPicPr>
          <p:cNvPr id="5" name="Picture 4">
            <a:extLst>
              <a:ext uri="{FF2B5EF4-FFF2-40B4-BE49-F238E27FC236}">
                <a16:creationId xmlns:a16="http://schemas.microsoft.com/office/drawing/2014/main" id="{F39CDE30-D28D-38C7-2B82-1B693EC486E9}"/>
              </a:ext>
            </a:extLst>
          </p:cNvPr>
          <p:cNvPicPr>
            <a:picLocks noChangeAspect="1"/>
          </p:cNvPicPr>
          <p:nvPr/>
        </p:nvPicPr>
        <p:blipFill>
          <a:blip r:embed="rId5"/>
          <a:stretch>
            <a:fillRect/>
          </a:stretch>
        </p:blipFill>
        <p:spPr>
          <a:xfrm>
            <a:off x="660400" y="2913061"/>
            <a:ext cx="7298898" cy="455582"/>
          </a:xfrm>
          <a:prstGeom prst="rect">
            <a:avLst/>
          </a:prstGeom>
        </p:spPr>
      </p:pic>
    </p:spTree>
    <p:custDataLst>
      <p:tags r:id="rId1"/>
    </p:custDataLst>
    <p:extLst>
      <p:ext uri="{BB962C8B-B14F-4D97-AF65-F5344CB8AC3E}">
        <p14:creationId xmlns:p14="http://schemas.microsoft.com/office/powerpoint/2010/main" val="337637617"/>
      </p:ext>
    </p:extLst>
  </p:cSld>
  <p:clrMapOvr>
    <a:masterClrMapping/>
  </p:clrMapOvr>
  <p:transition spd="slow">
    <p:push/>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History commit on GitHub web</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3751352"/>
          </a:xfrm>
        </p:spPr>
        <p:txBody>
          <a:bodyPr/>
          <a:lstStyle/>
          <a:p>
            <a:pPr marL="342900" indent="-342900" algn="just" defTabSz="685800">
              <a:buClr>
                <a:srgbClr val="990000"/>
              </a:buClr>
              <a:buFont typeface="Wingdings" panose="05000000000000000000" pitchFamily="2" charset="2"/>
              <a:buChar char="§"/>
            </a:pPr>
            <a:r>
              <a:rPr lang="en-US" sz="1400" b="0" dirty="0">
                <a:solidFill>
                  <a:schemeClr val="tx1"/>
                </a:solidFill>
              </a:rPr>
              <a:t>Navigate on web GitHub repository and select ‘commits’ </a:t>
            </a:r>
          </a:p>
          <a:p>
            <a:endParaRPr lang="en-US" sz="1600" b="0" dirty="0">
              <a:solidFill>
                <a:srgbClr val="333333"/>
              </a:solidFill>
            </a:endParaRPr>
          </a:p>
          <a:p>
            <a:endParaRPr lang="en-US" sz="1600" b="0" dirty="0">
              <a:solidFill>
                <a:srgbClr val="333333"/>
              </a:solidFill>
            </a:endParaRPr>
          </a:p>
          <a:p>
            <a:endParaRPr lang="en-US" sz="1600" b="0" dirty="0"/>
          </a:p>
        </p:txBody>
      </p:sp>
      <p:grpSp>
        <p:nvGrpSpPr>
          <p:cNvPr id="5" name="Group 4">
            <a:extLst>
              <a:ext uri="{FF2B5EF4-FFF2-40B4-BE49-F238E27FC236}">
                <a16:creationId xmlns:a16="http://schemas.microsoft.com/office/drawing/2014/main" id="{928BA8D9-3793-FD2F-166F-C75C10481DF7}"/>
              </a:ext>
            </a:extLst>
          </p:cNvPr>
          <p:cNvGrpSpPr/>
          <p:nvPr/>
        </p:nvGrpSpPr>
        <p:grpSpPr>
          <a:xfrm>
            <a:off x="783110" y="1770743"/>
            <a:ext cx="7997616" cy="2340369"/>
            <a:chOff x="1282699" y="5640646"/>
            <a:chExt cx="21795260" cy="6760871"/>
          </a:xfrm>
        </p:grpSpPr>
        <p:pic>
          <p:nvPicPr>
            <p:cNvPr id="6" name="Picture 5">
              <a:extLst>
                <a:ext uri="{FF2B5EF4-FFF2-40B4-BE49-F238E27FC236}">
                  <a16:creationId xmlns:a16="http://schemas.microsoft.com/office/drawing/2014/main" id="{55752C32-3AFC-ED25-0B6F-CABF33665F01}"/>
                </a:ext>
              </a:extLst>
            </p:cNvPr>
            <p:cNvPicPr>
              <a:picLocks noChangeAspect="1"/>
            </p:cNvPicPr>
            <p:nvPr/>
          </p:nvPicPr>
          <p:blipFill>
            <a:blip r:embed="rId3"/>
            <a:stretch>
              <a:fillRect/>
            </a:stretch>
          </p:blipFill>
          <p:spPr>
            <a:xfrm>
              <a:off x="1282699" y="5640646"/>
              <a:ext cx="8830907" cy="6677957"/>
            </a:xfrm>
            <a:prstGeom prst="rect">
              <a:avLst/>
            </a:prstGeom>
          </p:spPr>
        </p:pic>
        <p:pic>
          <p:nvPicPr>
            <p:cNvPr id="7" name="Picture 6">
              <a:extLst>
                <a:ext uri="{FF2B5EF4-FFF2-40B4-BE49-F238E27FC236}">
                  <a16:creationId xmlns:a16="http://schemas.microsoft.com/office/drawing/2014/main" id="{CA72F00E-FFE4-A000-A64E-16631204FE00}"/>
                </a:ext>
              </a:extLst>
            </p:cNvPr>
            <p:cNvPicPr>
              <a:picLocks noChangeAspect="1"/>
            </p:cNvPicPr>
            <p:nvPr/>
          </p:nvPicPr>
          <p:blipFill>
            <a:blip r:embed="rId4"/>
            <a:stretch>
              <a:fillRect/>
            </a:stretch>
          </p:blipFill>
          <p:spPr>
            <a:xfrm>
              <a:off x="12276759" y="5640646"/>
              <a:ext cx="10801200" cy="6760871"/>
            </a:xfrm>
            <a:prstGeom prst="rect">
              <a:avLst/>
            </a:prstGeom>
          </p:spPr>
        </p:pic>
      </p:grpSp>
    </p:spTree>
    <p:custDataLst>
      <p:tags r:id="rId1"/>
    </p:custDataLst>
    <p:extLst>
      <p:ext uri="{BB962C8B-B14F-4D97-AF65-F5344CB8AC3E}">
        <p14:creationId xmlns:p14="http://schemas.microsoft.com/office/powerpoint/2010/main" val="3597999636"/>
      </p:ext>
    </p:extLst>
  </p:cSld>
  <p:clrMapOvr>
    <a:masterClrMapping/>
  </p:clrMapOvr>
  <p:transition spd="slow">
    <p:push/>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Create a new branch from GitHub desktop</a:t>
            </a:r>
            <a:endParaRPr lang="de-DE"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59999" y="1041434"/>
            <a:ext cx="4690971" cy="2031325"/>
          </a:xfrm>
          <a:prstGeom prst="rect">
            <a:avLst/>
          </a:prstGeom>
          <a:noFill/>
        </p:spPr>
        <p:txBody>
          <a:bodyPr wrap="square">
            <a:spAutoFit/>
          </a:bodyPr>
          <a:lstStyle/>
          <a:p>
            <a:pPr marL="342900"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GIT Branching is the strategy or systematic procedure of creating the branch and follow that up for merging that with the main copy of the main branch of the codebase</a:t>
            </a:r>
          </a:p>
          <a:p>
            <a:pPr marL="342900" indent="-342900" algn="just">
              <a:buClr>
                <a:srgbClr val="990000"/>
              </a:buClr>
              <a:buFont typeface="Wingdings" panose="05000000000000000000" pitchFamily="2" charset="2"/>
              <a:buChar char="§"/>
            </a:pPr>
            <a:r>
              <a:rPr lang="en-US" sz="1400" dirty="0">
                <a:latin typeface="Verdana" panose="020B0604030504040204" pitchFamily="34" charset="0"/>
                <a:ea typeface="Verdana" panose="020B0604030504040204" pitchFamily="34" charset="0"/>
              </a:rPr>
              <a:t>When starting work on a feature, it's necessary to create a new branch and work on it.</a:t>
            </a:r>
          </a:p>
          <a:p>
            <a:pPr marL="342900" indent="-342900" algn="just">
              <a:buClr>
                <a:srgbClr val="990000"/>
              </a:buClr>
              <a:buFont typeface="Wingdings" panose="05000000000000000000" pitchFamily="2" charset="2"/>
              <a:buChar char="§"/>
            </a:pPr>
            <a:r>
              <a:rPr lang="en-US" sz="1400" dirty="0">
                <a:solidFill>
                  <a:srgbClr val="FF0000"/>
                </a:solidFill>
                <a:latin typeface="Verdana" panose="020B0604030504040204" pitchFamily="34" charset="0"/>
                <a:ea typeface="Verdana" panose="020B0604030504040204" pitchFamily="34" charset="0"/>
              </a:rPr>
              <a:t>Warning</a:t>
            </a:r>
            <a:r>
              <a:rPr lang="en-US" sz="1400" dirty="0">
                <a:latin typeface="Verdana" panose="020B0604030504040204" pitchFamily="34" charset="0"/>
                <a:ea typeface="Verdana" panose="020B0604030504040204" pitchFamily="34" charset="0"/>
              </a:rPr>
              <a:t> ! Best practice: fetch before branch</a:t>
            </a:r>
          </a:p>
          <a:p>
            <a:pPr marL="285750" indent="-285750" algn="just">
              <a:buClr>
                <a:srgbClr val="990000"/>
              </a:buClr>
              <a:buFont typeface="Wingdings" panose="05000000000000000000" pitchFamily="2" charset="2"/>
              <a:buChar char="§"/>
            </a:pPr>
            <a:endParaRPr lang="en-US" sz="1400" b="0" dirty="0">
              <a:solidFill>
                <a:schemeClr val="tx1"/>
              </a:solidFill>
              <a:latin typeface="Verdana" panose="020B0604030504040204" pitchFamily="34" charset="0"/>
              <a:ea typeface="Verdana" panose="020B0604030504040204" pitchFamily="34" charset="0"/>
            </a:endParaRPr>
          </a:p>
        </p:txBody>
      </p:sp>
      <p:pic>
        <p:nvPicPr>
          <p:cNvPr id="6" name="Picture 5">
            <a:extLst>
              <a:ext uri="{FF2B5EF4-FFF2-40B4-BE49-F238E27FC236}">
                <a16:creationId xmlns:a16="http://schemas.microsoft.com/office/drawing/2014/main" id="{856B6ABD-2692-E48C-0A98-62A27AD6AB06}"/>
              </a:ext>
            </a:extLst>
          </p:cNvPr>
          <p:cNvPicPr>
            <a:picLocks noChangeAspect="1"/>
          </p:cNvPicPr>
          <p:nvPr/>
        </p:nvPicPr>
        <p:blipFill>
          <a:blip r:embed="rId4"/>
          <a:stretch>
            <a:fillRect/>
          </a:stretch>
        </p:blipFill>
        <p:spPr>
          <a:xfrm>
            <a:off x="5391731" y="1041434"/>
            <a:ext cx="2274247" cy="755929"/>
          </a:xfrm>
          <a:prstGeom prst="rect">
            <a:avLst/>
          </a:prstGeom>
        </p:spPr>
      </p:pic>
      <p:pic>
        <p:nvPicPr>
          <p:cNvPr id="8" name="Picture 7">
            <a:extLst>
              <a:ext uri="{FF2B5EF4-FFF2-40B4-BE49-F238E27FC236}">
                <a16:creationId xmlns:a16="http://schemas.microsoft.com/office/drawing/2014/main" id="{A8861A85-D942-59C3-66E4-416EC68DFCF2}"/>
              </a:ext>
            </a:extLst>
          </p:cNvPr>
          <p:cNvPicPr>
            <a:picLocks noChangeAspect="1"/>
          </p:cNvPicPr>
          <p:nvPr/>
        </p:nvPicPr>
        <p:blipFill>
          <a:blip r:embed="rId5"/>
          <a:stretch>
            <a:fillRect/>
          </a:stretch>
        </p:blipFill>
        <p:spPr>
          <a:xfrm>
            <a:off x="5473007" y="2144640"/>
            <a:ext cx="2111694" cy="2029085"/>
          </a:xfrm>
          <a:prstGeom prst="rect">
            <a:avLst/>
          </a:prstGeom>
        </p:spPr>
      </p:pic>
    </p:spTree>
    <p:custDataLst>
      <p:tags r:id="rId1"/>
    </p:custDataLst>
    <p:extLst>
      <p:ext uri="{BB962C8B-B14F-4D97-AF65-F5344CB8AC3E}">
        <p14:creationId xmlns:p14="http://schemas.microsoft.com/office/powerpoint/2010/main" val="3034659563"/>
      </p:ext>
    </p:extLst>
  </p:cSld>
  <p:clrMapOvr>
    <a:masterClrMapping/>
  </p:clrMapOvr>
  <p:transition spd="slow">
    <p:push/>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Create a new branch from GitHub web</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3751352"/>
          </a:xfrm>
        </p:spPr>
        <p:txBody>
          <a:bodyPr/>
          <a:lstStyle/>
          <a:p>
            <a:endParaRPr lang="en-US" sz="1600" b="0" dirty="0">
              <a:solidFill>
                <a:srgbClr val="333333"/>
              </a:solidFill>
            </a:endParaRPr>
          </a:p>
          <a:p>
            <a:endParaRPr lang="en-US" sz="1600" b="0" dirty="0">
              <a:solidFill>
                <a:srgbClr val="333333"/>
              </a:solidFill>
            </a:endParaRPr>
          </a:p>
          <a:p>
            <a:endParaRPr lang="en-US" sz="1600" b="0"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35317" y="846286"/>
            <a:ext cx="8420725" cy="523220"/>
          </a:xfrm>
          <a:prstGeom prst="rect">
            <a:avLst/>
          </a:prstGeom>
          <a:noFill/>
        </p:spPr>
        <p:txBody>
          <a:bodyPr wrap="square">
            <a:spAutoFit/>
          </a:bodyPr>
          <a:lstStyle/>
          <a:p>
            <a:pPr marL="342900"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To create a new branch in GitHub web, click on 'Switch branches', type the name of the new branch, and then click on 'Create branch’.</a:t>
            </a:r>
          </a:p>
        </p:txBody>
      </p:sp>
      <p:pic>
        <p:nvPicPr>
          <p:cNvPr id="8" name="Picture 7">
            <a:extLst>
              <a:ext uri="{FF2B5EF4-FFF2-40B4-BE49-F238E27FC236}">
                <a16:creationId xmlns:a16="http://schemas.microsoft.com/office/drawing/2014/main" id="{748D79C2-1917-C962-76DC-D6569028478F}"/>
              </a:ext>
            </a:extLst>
          </p:cNvPr>
          <p:cNvPicPr>
            <a:picLocks noChangeAspect="1"/>
          </p:cNvPicPr>
          <p:nvPr/>
        </p:nvPicPr>
        <p:blipFill>
          <a:blip r:embed="rId3"/>
          <a:stretch>
            <a:fillRect/>
          </a:stretch>
        </p:blipFill>
        <p:spPr>
          <a:xfrm>
            <a:off x="2151605" y="1555608"/>
            <a:ext cx="4840790" cy="2947458"/>
          </a:xfrm>
          <a:prstGeom prst="rect">
            <a:avLst/>
          </a:prstGeom>
        </p:spPr>
      </p:pic>
    </p:spTree>
    <p:custDataLst>
      <p:tags r:id="rId1"/>
    </p:custDataLst>
    <p:extLst>
      <p:ext uri="{BB962C8B-B14F-4D97-AF65-F5344CB8AC3E}">
        <p14:creationId xmlns:p14="http://schemas.microsoft.com/office/powerpoint/2010/main" val="611401668"/>
      </p:ext>
    </p:extLst>
  </p:cSld>
  <p:clrMapOvr>
    <a:masterClrMapping/>
  </p:clrMapOvr>
  <p:transition spd="slow">
    <p:push/>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How to merge a branch without conflicts</a:t>
            </a:r>
            <a:endParaRPr lang="de-DE"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58358" y="2032343"/>
            <a:ext cx="3994286" cy="2677656"/>
          </a:xfrm>
          <a:prstGeom prst="rect">
            <a:avLst/>
          </a:prstGeom>
          <a:noFill/>
        </p:spPr>
        <p:txBody>
          <a:bodyPr wrap="square">
            <a:spAutoFit/>
          </a:bodyPr>
          <a:lstStyle/>
          <a:p>
            <a:pPr marL="342900"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After modifying and implementing a new feature in your branch, it is necessary to validate your work</a:t>
            </a:r>
          </a:p>
          <a:p>
            <a:pPr marL="342900" indent="-342900" algn="just">
              <a:buClr>
                <a:srgbClr val="990000"/>
              </a:buClr>
              <a:buFont typeface="Wingdings" panose="05000000000000000000" pitchFamily="2" charset="2"/>
              <a:buChar char="§"/>
            </a:pPr>
            <a:r>
              <a:rPr lang="en-US" sz="1400" dirty="0">
                <a:latin typeface="Verdana" panose="020B0604030504040204" pitchFamily="34" charset="0"/>
                <a:ea typeface="Verdana" panose="020B0604030504040204" pitchFamily="34" charset="0"/>
              </a:rPr>
              <a:t>To validate the work and incorporate all your changes into the main (or master) branch, it is necessary to create a 'pull request’.</a:t>
            </a:r>
          </a:p>
          <a:p>
            <a:pPr marL="342900" indent="-342900" algn="just">
              <a:buClr>
                <a:srgbClr val="990000"/>
              </a:buClr>
              <a:buFont typeface="Wingdings" panose="05000000000000000000" pitchFamily="2" charset="2"/>
              <a:buChar char="§"/>
            </a:pPr>
            <a:r>
              <a:rPr lang="en-US" sz="1400" dirty="0">
                <a:latin typeface="Verdana" panose="020B0604030504040204" pitchFamily="34" charset="0"/>
                <a:ea typeface="Verdana" panose="020B0604030504040204" pitchFamily="34" charset="0"/>
              </a:rPr>
              <a:t>In GitHub desktop select your branch and in ‘Changes’ tab you can select ‘Preview Pull Request’ and after preview you can press create Pull request.</a:t>
            </a:r>
          </a:p>
        </p:txBody>
      </p:sp>
      <p:pic>
        <p:nvPicPr>
          <p:cNvPr id="5" name="Picture 4">
            <a:extLst>
              <a:ext uri="{FF2B5EF4-FFF2-40B4-BE49-F238E27FC236}">
                <a16:creationId xmlns:a16="http://schemas.microsoft.com/office/drawing/2014/main" id="{2FD5C8DA-C338-E8AC-499F-A9A18A6DED7F}"/>
              </a:ext>
            </a:extLst>
          </p:cNvPr>
          <p:cNvPicPr>
            <a:picLocks noChangeAspect="1"/>
          </p:cNvPicPr>
          <p:nvPr/>
        </p:nvPicPr>
        <p:blipFill>
          <a:blip r:embed="rId3"/>
          <a:stretch>
            <a:fillRect/>
          </a:stretch>
        </p:blipFill>
        <p:spPr>
          <a:xfrm>
            <a:off x="407999" y="732234"/>
            <a:ext cx="6192826" cy="1300109"/>
          </a:xfrm>
          <a:prstGeom prst="rect">
            <a:avLst/>
          </a:prstGeom>
        </p:spPr>
      </p:pic>
      <p:sp>
        <p:nvSpPr>
          <p:cNvPr id="8" name="Arrow: Down 7">
            <a:extLst>
              <a:ext uri="{FF2B5EF4-FFF2-40B4-BE49-F238E27FC236}">
                <a16:creationId xmlns:a16="http://schemas.microsoft.com/office/drawing/2014/main" id="{A4738D25-3661-5A18-187D-D33EF623B819}"/>
              </a:ext>
            </a:extLst>
          </p:cNvPr>
          <p:cNvSpPr/>
          <p:nvPr/>
        </p:nvSpPr>
        <p:spPr>
          <a:xfrm>
            <a:off x="6079331" y="1393031"/>
            <a:ext cx="221457" cy="300038"/>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FFFFFF"/>
              </a:solidFill>
              <a:latin typeface="Open Sans" panose="020B0606030504020204" pitchFamily="34" charset="0"/>
            </a:endParaRPr>
          </a:p>
        </p:txBody>
      </p:sp>
      <p:pic>
        <p:nvPicPr>
          <p:cNvPr id="10" name="Picture 9">
            <a:extLst>
              <a:ext uri="{FF2B5EF4-FFF2-40B4-BE49-F238E27FC236}">
                <a16:creationId xmlns:a16="http://schemas.microsoft.com/office/drawing/2014/main" id="{490C4757-B0FE-A1B9-537A-8E97DECF808B}"/>
              </a:ext>
            </a:extLst>
          </p:cNvPr>
          <p:cNvPicPr>
            <a:picLocks noChangeAspect="1"/>
          </p:cNvPicPr>
          <p:nvPr/>
        </p:nvPicPr>
        <p:blipFill>
          <a:blip r:embed="rId4"/>
          <a:stretch>
            <a:fillRect/>
          </a:stretch>
        </p:blipFill>
        <p:spPr>
          <a:xfrm>
            <a:off x="4436218" y="2223113"/>
            <a:ext cx="4570298" cy="1430030"/>
          </a:xfrm>
          <a:prstGeom prst="rect">
            <a:avLst/>
          </a:prstGeom>
        </p:spPr>
      </p:pic>
      <p:pic>
        <p:nvPicPr>
          <p:cNvPr id="12" name="Picture 11">
            <a:extLst>
              <a:ext uri="{FF2B5EF4-FFF2-40B4-BE49-F238E27FC236}">
                <a16:creationId xmlns:a16="http://schemas.microsoft.com/office/drawing/2014/main" id="{73E499EC-BE13-A836-429C-0599EB6FC8C9}"/>
              </a:ext>
            </a:extLst>
          </p:cNvPr>
          <p:cNvPicPr>
            <a:picLocks noChangeAspect="1"/>
          </p:cNvPicPr>
          <p:nvPr/>
        </p:nvPicPr>
        <p:blipFill>
          <a:blip r:embed="rId5"/>
          <a:stretch>
            <a:fillRect/>
          </a:stretch>
        </p:blipFill>
        <p:spPr>
          <a:xfrm>
            <a:off x="6944131" y="3765331"/>
            <a:ext cx="2062385" cy="438411"/>
          </a:xfrm>
          <a:prstGeom prst="rect">
            <a:avLst/>
          </a:prstGeom>
        </p:spPr>
      </p:pic>
      <p:sp>
        <p:nvSpPr>
          <p:cNvPr id="13" name="Arrow: Up 12">
            <a:extLst>
              <a:ext uri="{FF2B5EF4-FFF2-40B4-BE49-F238E27FC236}">
                <a16:creationId xmlns:a16="http://schemas.microsoft.com/office/drawing/2014/main" id="{034D621D-06EC-027A-F96F-82A0B9578DD8}"/>
              </a:ext>
            </a:extLst>
          </p:cNvPr>
          <p:cNvSpPr/>
          <p:nvPr/>
        </p:nvSpPr>
        <p:spPr>
          <a:xfrm>
            <a:off x="7565231" y="4163948"/>
            <a:ext cx="192882" cy="303964"/>
          </a:xfrm>
          <a:prstGeom prst="up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FFFFFF"/>
              </a:solidFill>
              <a:latin typeface="Open Sans" panose="020B0606030504020204" pitchFamily="34" charset="0"/>
            </a:endParaRPr>
          </a:p>
        </p:txBody>
      </p:sp>
    </p:spTree>
    <p:custDataLst>
      <p:tags r:id="rId1"/>
    </p:custDataLst>
    <p:extLst>
      <p:ext uri="{BB962C8B-B14F-4D97-AF65-F5344CB8AC3E}">
        <p14:creationId xmlns:p14="http://schemas.microsoft.com/office/powerpoint/2010/main" val="2389100449"/>
      </p:ext>
    </p:extLst>
  </p:cSld>
  <p:clrMapOvr>
    <a:masterClrMapping/>
  </p:clrMapOvr>
  <p:transition spd="slow">
    <p:push/>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Open a pull request</a:t>
            </a:r>
            <a:endParaRPr lang="de-DE"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58358" y="1488174"/>
            <a:ext cx="3413714" cy="3108543"/>
          </a:xfrm>
          <a:prstGeom prst="rect">
            <a:avLst/>
          </a:prstGeom>
          <a:noFill/>
        </p:spPr>
        <p:txBody>
          <a:bodyPr wrap="square">
            <a:spAutoFit/>
          </a:bodyPr>
          <a:lstStyle/>
          <a:p>
            <a:pPr marL="342900"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On the right side, add reviewers for the merge.</a:t>
            </a:r>
          </a:p>
          <a:p>
            <a:pPr marL="342900" indent="-342900" algn="just">
              <a:buClr>
                <a:srgbClr val="990000"/>
              </a:buClr>
              <a:buFont typeface="Wingdings" panose="05000000000000000000" pitchFamily="2" charset="2"/>
              <a:buChar char="§"/>
            </a:pPr>
            <a:r>
              <a:rPr lang="en-US" sz="1400" dirty="0">
                <a:latin typeface="Verdana" panose="020B0604030504040204" pitchFamily="34" charset="0"/>
                <a:ea typeface="Verdana" panose="020B0604030504040204" pitchFamily="34" charset="0"/>
              </a:rPr>
              <a:t>For Assignees, select yourself.</a:t>
            </a:r>
          </a:p>
          <a:p>
            <a:pPr marL="342900" indent="-342900" algn="just">
              <a:buClr>
                <a:srgbClr val="990000"/>
              </a:buClr>
              <a:buFont typeface="Wingdings" panose="05000000000000000000" pitchFamily="2" charset="2"/>
              <a:buChar char="§"/>
            </a:pPr>
            <a:r>
              <a:rPr lang="en-US" sz="1400" dirty="0">
                <a:latin typeface="Verdana" panose="020B0604030504040204" pitchFamily="34" charset="0"/>
                <a:ea typeface="Verdana" panose="020B0604030504040204" pitchFamily="34" charset="0"/>
              </a:rPr>
              <a:t>Add a comment, then press 'Create pull request'.</a:t>
            </a:r>
          </a:p>
          <a:p>
            <a:pPr marL="342900" indent="-342900" algn="just">
              <a:buClr>
                <a:srgbClr val="990000"/>
              </a:buClr>
              <a:buFont typeface="Wingdings" panose="05000000000000000000" pitchFamily="2" charset="2"/>
              <a:buChar char="§"/>
            </a:pPr>
            <a:r>
              <a:rPr lang="en-US" sz="1400" dirty="0">
                <a:latin typeface="Verdana" panose="020B0604030504040204" pitchFamily="34" charset="0"/>
                <a:ea typeface="Verdana" panose="020B0604030504040204" pitchFamily="34" charset="0"/>
              </a:rPr>
              <a:t>After your pull request is approved, you can see all your modifications in the main branch.</a:t>
            </a:r>
          </a:p>
          <a:p>
            <a:pPr marL="342900" indent="-342900" algn="just">
              <a:buClr>
                <a:srgbClr val="990000"/>
              </a:buClr>
              <a:buFont typeface="Wingdings" panose="05000000000000000000" pitchFamily="2" charset="2"/>
              <a:buChar char="§"/>
            </a:pPr>
            <a:r>
              <a:rPr lang="en-US" sz="1400" dirty="0">
                <a:latin typeface="Verdana" panose="020B0604030504040204" pitchFamily="34" charset="0"/>
                <a:ea typeface="Verdana" panose="020B0604030504040204" pitchFamily="34" charset="0"/>
              </a:rPr>
              <a:t>If there are no conflicts, the check will be green, indicating 'Able to merge'.</a:t>
            </a:r>
          </a:p>
          <a:p>
            <a:pPr algn="just">
              <a:buClr>
                <a:srgbClr val="990000"/>
              </a:buClr>
            </a:pPr>
            <a:endParaRPr lang="en-US" sz="1400" dirty="0">
              <a:latin typeface="Verdana" panose="020B0604030504040204" pitchFamily="34" charset="0"/>
              <a:ea typeface="Verdana" panose="020B0604030504040204" pitchFamily="34" charset="0"/>
            </a:endParaRPr>
          </a:p>
          <a:p>
            <a:pPr marL="285750" indent="-285750" algn="just">
              <a:buClr>
                <a:srgbClr val="990000"/>
              </a:buClr>
              <a:buFont typeface="Wingdings" panose="05000000000000000000" pitchFamily="2" charset="2"/>
              <a:buChar char="§"/>
            </a:pPr>
            <a:endParaRPr lang="en-US" sz="1400" b="0" dirty="0">
              <a:solidFill>
                <a:schemeClr val="tx1"/>
              </a:solidFill>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8423B8DA-7C17-8DC2-761C-AF0084A23318}"/>
              </a:ext>
            </a:extLst>
          </p:cNvPr>
          <p:cNvPicPr>
            <a:picLocks noChangeAspect="1"/>
          </p:cNvPicPr>
          <p:nvPr/>
        </p:nvPicPr>
        <p:blipFill>
          <a:blip r:embed="rId3"/>
          <a:stretch>
            <a:fillRect/>
          </a:stretch>
        </p:blipFill>
        <p:spPr>
          <a:xfrm>
            <a:off x="3870067" y="1488174"/>
            <a:ext cx="5082933" cy="2566881"/>
          </a:xfrm>
          <a:prstGeom prst="rect">
            <a:avLst/>
          </a:prstGeom>
        </p:spPr>
      </p:pic>
    </p:spTree>
    <p:custDataLst>
      <p:tags r:id="rId1"/>
    </p:custDataLst>
    <p:extLst>
      <p:ext uri="{BB962C8B-B14F-4D97-AF65-F5344CB8AC3E}">
        <p14:creationId xmlns:p14="http://schemas.microsoft.com/office/powerpoint/2010/main" val="3537645807"/>
      </p:ext>
    </p:extLst>
  </p:cSld>
  <p:clrMapOvr>
    <a:masterClrMapping/>
  </p:clrMapOvr>
  <p:transition spd="slow">
    <p:push/>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Git branch example</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3751352"/>
          </a:xfrm>
        </p:spPr>
        <p:txBody>
          <a:bodyPr/>
          <a:lstStyle/>
          <a:p>
            <a:endParaRPr lang="en-US" sz="1600" b="0" dirty="0">
              <a:solidFill>
                <a:srgbClr val="333333"/>
              </a:solidFill>
            </a:endParaRPr>
          </a:p>
          <a:p>
            <a:endParaRPr lang="en-US" sz="1600" b="0" dirty="0">
              <a:solidFill>
                <a:srgbClr val="333333"/>
              </a:solidFill>
            </a:endParaRPr>
          </a:p>
          <a:p>
            <a:endParaRPr lang="en-US" sz="1600" b="0" dirty="0"/>
          </a:p>
        </p:txBody>
      </p:sp>
      <p:pic>
        <p:nvPicPr>
          <p:cNvPr id="3" name="Picture 2">
            <a:extLst>
              <a:ext uri="{FF2B5EF4-FFF2-40B4-BE49-F238E27FC236}">
                <a16:creationId xmlns:a16="http://schemas.microsoft.com/office/drawing/2014/main" id="{BDA720BE-6D8B-00A2-A097-6813E3F6D4AB}"/>
              </a:ext>
            </a:extLst>
          </p:cNvPr>
          <p:cNvPicPr>
            <a:picLocks noChangeAspect="1"/>
          </p:cNvPicPr>
          <p:nvPr/>
        </p:nvPicPr>
        <p:blipFill>
          <a:blip r:embed="rId3"/>
          <a:stretch>
            <a:fillRect/>
          </a:stretch>
        </p:blipFill>
        <p:spPr>
          <a:xfrm>
            <a:off x="1087483" y="873757"/>
            <a:ext cx="6965760" cy="3751352"/>
          </a:xfrm>
          <a:prstGeom prst="rect">
            <a:avLst/>
          </a:prstGeom>
        </p:spPr>
      </p:pic>
    </p:spTree>
    <p:custDataLst>
      <p:tags r:id="rId1"/>
    </p:custDataLst>
    <p:extLst>
      <p:ext uri="{BB962C8B-B14F-4D97-AF65-F5344CB8AC3E}">
        <p14:creationId xmlns:p14="http://schemas.microsoft.com/office/powerpoint/2010/main" val="3120225547"/>
      </p:ext>
    </p:extLst>
  </p:cSld>
  <p:clrMapOvr>
    <a:masterClrMapping/>
  </p:clrMapOvr>
  <p:transition spd="slow">
    <p:push/>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Git branch example</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3751352"/>
          </a:xfrm>
        </p:spPr>
        <p:txBody>
          <a:bodyPr/>
          <a:lstStyle/>
          <a:p>
            <a:endParaRPr lang="en-US" sz="1600" b="0" dirty="0">
              <a:solidFill>
                <a:srgbClr val="333333"/>
              </a:solidFill>
            </a:endParaRPr>
          </a:p>
          <a:p>
            <a:endParaRPr lang="en-US" sz="1600" b="0" dirty="0">
              <a:solidFill>
                <a:srgbClr val="333333"/>
              </a:solidFill>
            </a:endParaRPr>
          </a:p>
          <a:p>
            <a:endParaRPr lang="en-US" sz="1600" b="0" dirty="0"/>
          </a:p>
        </p:txBody>
      </p:sp>
      <p:pic>
        <p:nvPicPr>
          <p:cNvPr id="5" name="Picture 2" descr="Git workflow strategy. So recently having to really look at… | by sam raza  | Medium">
            <a:extLst>
              <a:ext uri="{FF2B5EF4-FFF2-40B4-BE49-F238E27FC236}">
                <a16:creationId xmlns:a16="http://schemas.microsoft.com/office/drawing/2014/main" id="{B1A3712F-DA19-ADE9-2CBD-A6B0A9D8B8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3286" y="873757"/>
            <a:ext cx="7334153" cy="345800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550557163"/>
      </p:ext>
    </p:extLst>
  </p:cSld>
  <p:clrMapOvr>
    <a:masterClrMapping/>
  </p:clrMapOvr>
  <p:transition spd="slow">
    <p:push/>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Difference between Fetch and Pull</a:t>
            </a:r>
            <a:endParaRPr lang="de-DE" dirty="0"/>
          </a:p>
        </p:txBody>
      </p:sp>
      <p:sp>
        <p:nvSpPr>
          <p:cNvPr id="7" name="TextBox 6">
            <a:extLst>
              <a:ext uri="{FF2B5EF4-FFF2-40B4-BE49-F238E27FC236}">
                <a16:creationId xmlns:a16="http://schemas.microsoft.com/office/drawing/2014/main" id="{AE5AA585-F98B-BFC7-36BD-E3DA59DA75E8}"/>
              </a:ext>
            </a:extLst>
          </p:cNvPr>
          <p:cNvSpPr txBox="1"/>
          <p:nvPr/>
        </p:nvSpPr>
        <p:spPr>
          <a:xfrm>
            <a:off x="360000" y="799234"/>
            <a:ext cx="8420725" cy="1169551"/>
          </a:xfrm>
          <a:prstGeom prst="rect">
            <a:avLst/>
          </a:prstGeom>
          <a:noFill/>
        </p:spPr>
        <p:txBody>
          <a:bodyPr wrap="square">
            <a:spAutoFit/>
          </a:bodyPr>
          <a:lstStyle/>
          <a:p>
            <a:r>
              <a:rPr lang="en-US" sz="1400" b="1" dirty="0">
                <a:latin typeface="Verdana" panose="020B0604030504040204" pitchFamily="34" charset="0"/>
                <a:ea typeface="Verdana" panose="020B0604030504040204" pitchFamily="34" charset="0"/>
              </a:rPr>
              <a:t>What is Git Fetch?</a:t>
            </a:r>
          </a:p>
          <a:p>
            <a:pPr marL="342900" indent="-342900" algn="just">
              <a:spcAft>
                <a:spcPts val="600"/>
              </a:spcAft>
              <a:buClr>
                <a:srgbClr val="990000"/>
              </a:buClr>
              <a:buFont typeface="Wingdings" panose="05000000000000000000" pitchFamily="2" charset="2"/>
              <a:buChar char="§"/>
            </a:pPr>
            <a:r>
              <a:rPr lang="en-US" sz="1400" dirty="0">
                <a:latin typeface="Verdana" panose="020B0604030504040204" pitchFamily="34" charset="0"/>
                <a:ea typeface="Verdana" panose="020B0604030504040204" pitchFamily="34" charset="0"/>
              </a:rPr>
              <a:t>Git Fetch command is used to fetch all changes from the remote repository to the local repository. It doesn’t make any changes to the current working directory. It stores all the changes in a separate branch called the remote-tracking branch. git merge or git rebase command is used to merge these changes into our current working directory.</a:t>
            </a:r>
          </a:p>
        </p:txBody>
      </p:sp>
      <p:sp>
        <p:nvSpPr>
          <p:cNvPr id="11" name="TextBox 10">
            <a:extLst>
              <a:ext uri="{FF2B5EF4-FFF2-40B4-BE49-F238E27FC236}">
                <a16:creationId xmlns:a16="http://schemas.microsoft.com/office/drawing/2014/main" id="{0D5E6C46-68AE-E6C6-A7A8-9BF5F3C29113}"/>
              </a:ext>
            </a:extLst>
          </p:cNvPr>
          <p:cNvSpPr txBox="1"/>
          <p:nvPr/>
        </p:nvSpPr>
        <p:spPr>
          <a:xfrm>
            <a:off x="358358" y="2029915"/>
            <a:ext cx="8420724" cy="1384995"/>
          </a:xfrm>
          <a:prstGeom prst="rect">
            <a:avLst/>
          </a:prstGeom>
          <a:noFill/>
        </p:spPr>
        <p:txBody>
          <a:bodyPr wrap="square">
            <a:spAutoFit/>
          </a:bodyPr>
          <a:lstStyle>
            <a:defPPr>
              <a:defRPr lang="de-DE"/>
            </a:defPPr>
            <a:lvl1pPr>
              <a:defRPr sz="1400" b="1">
                <a:latin typeface="Verdana" panose="020B0604030504040204" pitchFamily="34" charset="0"/>
                <a:ea typeface="Verdana" panose="020B0604030504040204" pitchFamily="34" charset="0"/>
              </a:defRPr>
            </a:lvl1pPr>
          </a:lstStyle>
          <a:p>
            <a:r>
              <a:rPr lang="en-US" dirty="0"/>
              <a:t>What is Git Pull?</a:t>
            </a:r>
          </a:p>
          <a:p>
            <a:pPr marL="342900" indent="-342900" algn="just">
              <a:spcAft>
                <a:spcPts val="600"/>
              </a:spcAft>
              <a:buClr>
                <a:srgbClr val="990000"/>
              </a:buClr>
              <a:buFont typeface="Wingdings" panose="05000000000000000000" pitchFamily="2" charset="2"/>
              <a:buChar char="§"/>
            </a:pPr>
            <a:r>
              <a:rPr lang="en-US" b="0" dirty="0"/>
              <a:t>Git Pull command is used to fetch all changes from the remote repository to the current working directory. It automatically try to merge or rebase them into our current working directory. It is the combination of git fetch and git merge, or git rebase. It can generate merge conflicts if there are conflict changes between our local and remote branches.</a:t>
            </a:r>
          </a:p>
        </p:txBody>
      </p:sp>
      <p:sp>
        <p:nvSpPr>
          <p:cNvPr id="13" name="TextBox 12">
            <a:extLst>
              <a:ext uri="{FF2B5EF4-FFF2-40B4-BE49-F238E27FC236}">
                <a16:creationId xmlns:a16="http://schemas.microsoft.com/office/drawing/2014/main" id="{3F078A8D-53E6-EF95-991C-20DA97590F3A}"/>
              </a:ext>
            </a:extLst>
          </p:cNvPr>
          <p:cNvSpPr txBox="1"/>
          <p:nvPr/>
        </p:nvSpPr>
        <p:spPr>
          <a:xfrm>
            <a:off x="358358" y="3476040"/>
            <a:ext cx="8414164" cy="1169551"/>
          </a:xfrm>
          <a:prstGeom prst="rect">
            <a:avLst/>
          </a:prstGeom>
          <a:noFill/>
        </p:spPr>
        <p:txBody>
          <a:bodyPr wrap="square">
            <a:spAutoFit/>
          </a:bodyPr>
          <a:lstStyle>
            <a:defPPr>
              <a:defRPr lang="de-DE"/>
            </a:defPPr>
            <a:lvl1pPr>
              <a:defRPr sz="1400" b="1">
                <a:latin typeface="Verdana" panose="020B0604030504040204" pitchFamily="34" charset="0"/>
                <a:ea typeface="Verdana" panose="020B0604030504040204" pitchFamily="34" charset="0"/>
              </a:defRPr>
            </a:lvl1pPr>
          </a:lstStyle>
          <a:p>
            <a:r>
              <a:rPr lang="en-US" dirty="0"/>
              <a:t>Fetch vs Pull</a:t>
            </a:r>
          </a:p>
          <a:p>
            <a:pPr marL="342900" indent="-342900" algn="just">
              <a:spcAft>
                <a:spcPts val="600"/>
              </a:spcAft>
              <a:buClr>
                <a:srgbClr val="990000"/>
              </a:buClr>
              <a:buFont typeface="Wingdings" panose="05000000000000000000" pitchFamily="2" charset="2"/>
              <a:buChar char="§"/>
            </a:pPr>
            <a:r>
              <a:rPr lang="en-US" b="0" dirty="0"/>
              <a:t>Git Fetch command fetches all the changes from the remote repository to the local repository without bringing the changes into the working directory. Git Pull on the other hand brings the copy of the remote directory changes into the working directory. In this article, Let us look at Git Fetch and Git Pull separately with the help of an example.</a:t>
            </a:r>
          </a:p>
        </p:txBody>
      </p:sp>
    </p:spTree>
    <p:custDataLst>
      <p:tags r:id="rId1"/>
    </p:custDataLst>
    <p:extLst>
      <p:ext uri="{BB962C8B-B14F-4D97-AF65-F5344CB8AC3E}">
        <p14:creationId xmlns:p14="http://schemas.microsoft.com/office/powerpoint/2010/main" val="729952118"/>
      </p:ext>
    </p:extLst>
  </p:cSld>
  <p:clrMapOvr>
    <a:masterClrMapping/>
  </p:clrMapOvr>
  <p:transition spd="slow">
    <p:push/>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Git rebase</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3751352"/>
          </a:xfrm>
        </p:spPr>
        <p:txBody>
          <a:bodyPr/>
          <a:lstStyle/>
          <a:p>
            <a:endParaRPr lang="en-US" sz="1600" b="0" dirty="0">
              <a:solidFill>
                <a:srgbClr val="333333"/>
              </a:solidFill>
            </a:endParaRPr>
          </a:p>
          <a:p>
            <a:endParaRPr lang="en-US" sz="1600" b="0" dirty="0">
              <a:solidFill>
                <a:srgbClr val="333333"/>
              </a:solidFill>
            </a:endParaRPr>
          </a:p>
          <a:p>
            <a:endParaRPr lang="en-US" sz="1600" b="0"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60000" y="1041434"/>
            <a:ext cx="7955280" cy="1169551"/>
          </a:xfrm>
          <a:prstGeom prst="rect">
            <a:avLst/>
          </a:prstGeom>
          <a:noFill/>
        </p:spPr>
        <p:txBody>
          <a:bodyPr wrap="square">
            <a:spAutoFit/>
          </a:bodyPr>
          <a:lstStyle/>
          <a:p>
            <a:pPr marL="285750" indent="-28575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Rebasing is the process of moving or combining a sequence of commits to a new base commit. Rebasing is most useful and easily visualized in the context of a feature branching workflow. The general process can be visualized as the following:</a:t>
            </a:r>
            <a:endParaRPr lang="en-US" sz="1400" dirty="0">
              <a:latin typeface="Verdana" panose="020B0604030504040204" pitchFamily="34" charset="0"/>
              <a:ea typeface="Verdana" panose="020B0604030504040204" pitchFamily="34" charset="0"/>
            </a:endParaRPr>
          </a:p>
          <a:p>
            <a:pPr marL="285750" indent="-285750" algn="just">
              <a:buClr>
                <a:srgbClr val="990000"/>
              </a:buClr>
              <a:buFont typeface="Wingdings" panose="05000000000000000000" pitchFamily="2" charset="2"/>
              <a:buChar char="§"/>
            </a:pPr>
            <a:endParaRPr lang="en-US" sz="1400" b="0" dirty="0">
              <a:solidFill>
                <a:schemeClr val="tx1"/>
              </a:solidFill>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FF0B41D9-7FFD-45EE-EA92-B340163CC923}"/>
              </a:ext>
            </a:extLst>
          </p:cNvPr>
          <p:cNvPicPr>
            <a:picLocks noChangeAspect="1"/>
          </p:cNvPicPr>
          <p:nvPr/>
        </p:nvPicPr>
        <p:blipFill>
          <a:blip r:embed="rId3"/>
          <a:stretch>
            <a:fillRect/>
          </a:stretch>
        </p:blipFill>
        <p:spPr>
          <a:xfrm>
            <a:off x="3263303" y="1832186"/>
            <a:ext cx="2148674" cy="1479128"/>
          </a:xfrm>
          <a:prstGeom prst="rect">
            <a:avLst/>
          </a:prstGeom>
        </p:spPr>
      </p:pic>
      <p:sp>
        <p:nvSpPr>
          <p:cNvPr id="6" name="TextBox 5">
            <a:extLst>
              <a:ext uri="{FF2B5EF4-FFF2-40B4-BE49-F238E27FC236}">
                <a16:creationId xmlns:a16="http://schemas.microsoft.com/office/drawing/2014/main" id="{BE807F31-59F5-78EE-DFCA-8DD709DE8C23}"/>
              </a:ext>
            </a:extLst>
          </p:cNvPr>
          <p:cNvSpPr txBox="1"/>
          <p:nvPr/>
        </p:nvSpPr>
        <p:spPr>
          <a:xfrm>
            <a:off x="360000" y="3379108"/>
            <a:ext cx="7955280" cy="1169551"/>
          </a:xfrm>
          <a:prstGeom prst="rect">
            <a:avLst/>
          </a:prstGeom>
          <a:noFill/>
        </p:spPr>
        <p:txBody>
          <a:bodyPr wrap="square">
            <a:spAutoFit/>
          </a:bodyPr>
          <a:lstStyle/>
          <a:p>
            <a:pPr marL="285750" indent="-285750" algn="just">
              <a:buClr>
                <a:srgbClr val="990000"/>
              </a:buClr>
              <a:buFont typeface="Wingdings" panose="05000000000000000000" pitchFamily="2" charset="2"/>
              <a:buChar char="§"/>
            </a:pPr>
            <a:r>
              <a:rPr lang="en-US" sz="1400" dirty="0">
                <a:latin typeface="Verdana" panose="020B0604030504040204" pitchFamily="34" charset="0"/>
                <a:ea typeface="Verdana" panose="020B0604030504040204" pitchFamily="34" charset="0"/>
              </a:rPr>
              <a:t>From a content perspective, rebasing is changing the base of your branch from one commit to another making it appear as if you'd created your branch from a different commit. Internally, Git accomplishes this by creating new commits and applying them to the specified base. It's very important to understand that even though the branch looks the same, it's composed of entirely new commits.</a:t>
            </a:r>
          </a:p>
        </p:txBody>
      </p:sp>
    </p:spTree>
    <p:custDataLst>
      <p:tags r:id="rId1"/>
    </p:custDataLst>
    <p:extLst>
      <p:ext uri="{BB962C8B-B14F-4D97-AF65-F5344CB8AC3E}">
        <p14:creationId xmlns:p14="http://schemas.microsoft.com/office/powerpoint/2010/main" val="571226233"/>
      </p:ext>
    </p:extLst>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Git Stash</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3751352"/>
          </a:xfrm>
        </p:spPr>
        <p:txBody>
          <a:bodyPr/>
          <a:lstStyle/>
          <a:p>
            <a:endParaRPr lang="en-US" sz="1600" b="0" dirty="0">
              <a:solidFill>
                <a:srgbClr val="333333"/>
              </a:solidFill>
            </a:endParaRPr>
          </a:p>
          <a:p>
            <a:endParaRPr lang="en-US" sz="1600" b="0" dirty="0">
              <a:solidFill>
                <a:srgbClr val="333333"/>
              </a:solidFill>
            </a:endParaRPr>
          </a:p>
          <a:p>
            <a:endParaRPr lang="en-US" sz="1600" b="0"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60000" y="1041434"/>
            <a:ext cx="7955280" cy="1169551"/>
          </a:xfrm>
          <a:prstGeom prst="rect">
            <a:avLst/>
          </a:prstGeom>
          <a:noFill/>
        </p:spPr>
        <p:txBody>
          <a:bodyPr wrap="square">
            <a:spAutoFit/>
          </a:bodyPr>
          <a:lstStyle/>
          <a:p>
            <a:pPr marL="285750" indent="-28575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Use git stash when you want to record the current state of the working directory and the index but want to go back to a clean working directory. The command saves your local modifications away and reverts the working directory to match the HEAD commit.</a:t>
            </a:r>
          </a:p>
          <a:p>
            <a:pPr algn="just">
              <a:buClr>
                <a:srgbClr val="990000"/>
              </a:buClr>
            </a:pPr>
            <a:endParaRPr lang="en-US" sz="1400" b="0" dirty="0">
              <a:solidFill>
                <a:schemeClr val="tx1"/>
              </a:solidFill>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12C39FCD-5454-5CB3-13A9-038BAD8CC078}"/>
              </a:ext>
            </a:extLst>
          </p:cNvPr>
          <p:cNvPicPr>
            <a:picLocks noChangeAspect="1"/>
          </p:cNvPicPr>
          <p:nvPr/>
        </p:nvPicPr>
        <p:blipFill>
          <a:blip r:embed="rId3"/>
          <a:stretch>
            <a:fillRect/>
          </a:stretch>
        </p:blipFill>
        <p:spPr>
          <a:xfrm>
            <a:off x="1772572" y="2056010"/>
            <a:ext cx="5130135" cy="2727730"/>
          </a:xfrm>
          <a:prstGeom prst="rect">
            <a:avLst/>
          </a:prstGeom>
        </p:spPr>
      </p:pic>
    </p:spTree>
    <p:custDataLst>
      <p:tags r:id="rId1"/>
    </p:custDataLst>
    <p:extLst>
      <p:ext uri="{BB962C8B-B14F-4D97-AF65-F5344CB8AC3E}">
        <p14:creationId xmlns:p14="http://schemas.microsoft.com/office/powerpoint/2010/main" val="2345314732"/>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GitHub provides the following:</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800100"/>
            <a:ext cx="8420726" cy="3983640"/>
          </a:xfrm>
          <a:noFill/>
        </p:spPr>
        <p:txBody>
          <a:bodyPr wrap="square">
            <a:spAutoFit/>
          </a:bodyPr>
          <a:lstStyle/>
          <a:p>
            <a:pPr marL="685800" lvl="2" defTabSz="685800"/>
            <a:endParaRPr lang="en-US" sz="1350" dirty="0">
              <a:latin typeface="+mn-lt"/>
              <a:ea typeface="+mn-ea"/>
            </a:endParaRPr>
          </a:p>
          <a:p>
            <a:pPr defTabSz="685800"/>
            <a:endParaRPr lang="en-US" sz="1400" dirty="0">
              <a:solidFill>
                <a:schemeClr val="tx1"/>
              </a:solidFill>
            </a:endParaRPr>
          </a:p>
        </p:txBody>
      </p:sp>
      <p:grpSp>
        <p:nvGrpSpPr>
          <p:cNvPr id="24" name="Group 23">
            <a:extLst>
              <a:ext uri="{FF2B5EF4-FFF2-40B4-BE49-F238E27FC236}">
                <a16:creationId xmlns:a16="http://schemas.microsoft.com/office/drawing/2014/main" id="{05939CE5-7E98-8C80-7B97-2DBD7893F931}"/>
              </a:ext>
            </a:extLst>
          </p:cNvPr>
          <p:cNvGrpSpPr/>
          <p:nvPr/>
        </p:nvGrpSpPr>
        <p:grpSpPr>
          <a:xfrm>
            <a:off x="685229" y="907489"/>
            <a:ext cx="6873811" cy="523220"/>
            <a:chOff x="685229" y="907489"/>
            <a:chExt cx="6873811" cy="523220"/>
          </a:xfrm>
        </p:grpSpPr>
        <p:sp>
          <p:nvSpPr>
            <p:cNvPr id="6" name="Rectangle 5" descr="Shredder">
              <a:extLst>
                <a:ext uri="{FF2B5EF4-FFF2-40B4-BE49-F238E27FC236}">
                  <a16:creationId xmlns:a16="http://schemas.microsoft.com/office/drawing/2014/main" id="{2D4EABF9-FE4D-1718-A821-514B2DA9E019}"/>
                </a:ext>
              </a:extLst>
            </p:cNvPr>
            <p:cNvSpPr/>
            <p:nvPr/>
          </p:nvSpPr>
          <p:spPr>
            <a:xfrm>
              <a:off x="685229" y="940499"/>
              <a:ext cx="457200" cy="457200"/>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3" name="TextBox 12">
              <a:extLst>
                <a:ext uri="{FF2B5EF4-FFF2-40B4-BE49-F238E27FC236}">
                  <a16:creationId xmlns:a16="http://schemas.microsoft.com/office/drawing/2014/main" id="{915AB65F-F25E-4AAE-0A0F-86BC5AFE5F15}"/>
                </a:ext>
              </a:extLst>
            </p:cNvPr>
            <p:cNvSpPr txBox="1"/>
            <p:nvPr/>
          </p:nvSpPr>
          <p:spPr>
            <a:xfrm>
              <a:off x="1310640" y="907489"/>
              <a:ext cx="6248400" cy="523220"/>
            </a:xfrm>
            <a:prstGeom prst="rect">
              <a:avLst/>
            </a:prstGeom>
            <a:noFill/>
          </p:spPr>
          <p:txBody>
            <a:bodyPr wrap="square">
              <a:spAutoFit/>
            </a:bodyPr>
            <a:lstStyle/>
            <a:p>
              <a:pPr lvl="0">
                <a:lnSpc>
                  <a:spcPct val="100000"/>
                </a:lnSpc>
              </a:pPr>
              <a:r>
                <a:rPr lang="en-US" sz="1400" dirty="0">
                  <a:latin typeface="Verdana" panose="020B0604030504040204" pitchFamily="34" charset="0"/>
                  <a:ea typeface="Verdana" panose="020B0604030504040204" pitchFamily="34" charset="0"/>
                </a:rPr>
                <a:t>Version control for free and open-source software and other digital assets</a:t>
              </a:r>
            </a:p>
          </p:txBody>
        </p:sp>
      </p:grpSp>
      <p:grpSp>
        <p:nvGrpSpPr>
          <p:cNvPr id="25" name="Group 24">
            <a:extLst>
              <a:ext uri="{FF2B5EF4-FFF2-40B4-BE49-F238E27FC236}">
                <a16:creationId xmlns:a16="http://schemas.microsoft.com/office/drawing/2014/main" id="{84BF17C5-DB49-AA97-64CB-A43002AC0E1C}"/>
              </a:ext>
            </a:extLst>
          </p:cNvPr>
          <p:cNvGrpSpPr/>
          <p:nvPr/>
        </p:nvGrpSpPr>
        <p:grpSpPr>
          <a:xfrm>
            <a:off x="696870" y="1563704"/>
            <a:ext cx="5185770" cy="457200"/>
            <a:chOff x="696870" y="1563704"/>
            <a:chExt cx="5185770" cy="457200"/>
          </a:xfrm>
        </p:grpSpPr>
        <p:sp>
          <p:nvSpPr>
            <p:cNvPr id="7" name="Rectangle 6" descr="Meeting">
              <a:extLst>
                <a:ext uri="{FF2B5EF4-FFF2-40B4-BE49-F238E27FC236}">
                  <a16:creationId xmlns:a16="http://schemas.microsoft.com/office/drawing/2014/main" id="{BF1196B6-5CE4-3787-7F81-7DC16EE8BEDA}"/>
                </a:ext>
              </a:extLst>
            </p:cNvPr>
            <p:cNvSpPr/>
            <p:nvPr/>
          </p:nvSpPr>
          <p:spPr>
            <a:xfrm>
              <a:off x="696870" y="1563704"/>
              <a:ext cx="457200" cy="457200"/>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5" name="TextBox 14">
              <a:extLst>
                <a:ext uri="{FF2B5EF4-FFF2-40B4-BE49-F238E27FC236}">
                  <a16:creationId xmlns:a16="http://schemas.microsoft.com/office/drawing/2014/main" id="{68AFEE3B-10D9-DBD6-3C40-C8401E0354D0}"/>
                </a:ext>
              </a:extLst>
            </p:cNvPr>
            <p:cNvSpPr txBox="1"/>
            <p:nvPr/>
          </p:nvSpPr>
          <p:spPr>
            <a:xfrm>
              <a:off x="1310640" y="1632530"/>
              <a:ext cx="4572000" cy="307777"/>
            </a:xfrm>
            <a:prstGeom prst="rect">
              <a:avLst/>
            </a:prstGeom>
            <a:noFill/>
          </p:spPr>
          <p:txBody>
            <a:bodyPr wrap="square">
              <a:spAutoFit/>
            </a:bodyPr>
            <a:lstStyle>
              <a:defPPr>
                <a:defRPr lang="de-DE"/>
              </a:defPPr>
              <a:lvl1pPr lvl="0">
                <a:lnSpc>
                  <a:spcPct val="100000"/>
                </a:lnSpc>
                <a:defRPr sz="1400">
                  <a:latin typeface="Verdana" panose="020B0604030504040204" pitchFamily="34" charset="0"/>
                  <a:ea typeface="Verdana" panose="020B0604030504040204" pitchFamily="34" charset="0"/>
                </a:defRPr>
              </a:lvl1pPr>
            </a:lstStyle>
            <a:p>
              <a:r>
                <a:rPr lang="en-US" dirty="0"/>
                <a:t>Project discussion forums</a:t>
              </a:r>
            </a:p>
          </p:txBody>
        </p:sp>
      </p:grpSp>
      <p:grpSp>
        <p:nvGrpSpPr>
          <p:cNvPr id="26" name="Group 25">
            <a:extLst>
              <a:ext uri="{FF2B5EF4-FFF2-40B4-BE49-F238E27FC236}">
                <a16:creationId xmlns:a16="http://schemas.microsoft.com/office/drawing/2014/main" id="{C7C0E9CA-5B1D-E7BA-0D20-EDCBA80E9F58}"/>
              </a:ext>
            </a:extLst>
          </p:cNvPr>
          <p:cNvGrpSpPr/>
          <p:nvPr/>
        </p:nvGrpSpPr>
        <p:grpSpPr>
          <a:xfrm>
            <a:off x="689536" y="2186909"/>
            <a:ext cx="6579944" cy="457200"/>
            <a:chOff x="689536" y="2186909"/>
            <a:chExt cx="6579944" cy="457200"/>
          </a:xfrm>
        </p:grpSpPr>
        <p:sp>
          <p:nvSpPr>
            <p:cNvPr id="8" name="Rectangle 7" descr="Gears">
              <a:extLst>
                <a:ext uri="{FF2B5EF4-FFF2-40B4-BE49-F238E27FC236}">
                  <a16:creationId xmlns:a16="http://schemas.microsoft.com/office/drawing/2014/main" id="{ECD4F364-8730-ACAC-FAD6-6FA6A970931E}"/>
                </a:ext>
              </a:extLst>
            </p:cNvPr>
            <p:cNvSpPr/>
            <p:nvPr/>
          </p:nvSpPr>
          <p:spPr>
            <a:xfrm>
              <a:off x="689536" y="2186909"/>
              <a:ext cx="457200" cy="457200"/>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dirty="0"/>
            </a:p>
          </p:txBody>
        </p:sp>
        <p:sp>
          <p:nvSpPr>
            <p:cNvPr id="17" name="TextBox 16">
              <a:extLst>
                <a:ext uri="{FF2B5EF4-FFF2-40B4-BE49-F238E27FC236}">
                  <a16:creationId xmlns:a16="http://schemas.microsoft.com/office/drawing/2014/main" id="{FC05CAD7-F1F2-63E1-E270-D006F78EB3C4}"/>
                </a:ext>
              </a:extLst>
            </p:cNvPr>
            <p:cNvSpPr txBox="1"/>
            <p:nvPr/>
          </p:nvSpPr>
          <p:spPr>
            <a:xfrm>
              <a:off x="1310640" y="2255575"/>
              <a:ext cx="5958840" cy="307777"/>
            </a:xfrm>
            <a:prstGeom prst="rect">
              <a:avLst/>
            </a:prstGeom>
            <a:noFill/>
          </p:spPr>
          <p:txBody>
            <a:bodyPr wrap="square">
              <a:spAutoFit/>
            </a:bodyPr>
            <a:lstStyle>
              <a:defPPr>
                <a:defRPr lang="de-DE"/>
              </a:defPPr>
              <a:lvl1pPr lvl="0">
                <a:lnSpc>
                  <a:spcPct val="100000"/>
                </a:lnSpc>
                <a:defRPr sz="1400">
                  <a:latin typeface="Verdana" panose="020B0604030504040204" pitchFamily="34" charset="0"/>
                  <a:ea typeface="Verdana" panose="020B0604030504040204" pitchFamily="34" charset="0"/>
                </a:defRPr>
              </a:lvl1pPr>
            </a:lstStyle>
            <a:p>
              <a:r>
                <a:rPr lang="en-US" dirty="0"/>
                <a:t>DevOps to facilitate building and testing software</a:t>
              </a:r>
            </a:p>
          </p:txBody>
        </p:sp>
      </p:grpSp>
      <p:grpSp>
        <p:nvGrpSpPr>
          <p:cNvPr id="27" name="Group 26">
            <a:extLst>
              <a:ext uri="{FF2B5EF4-FFF2-40B4-BE49-F238E27FC236}">
                <a16:creationId xmlns:a16="http://schemas.microsoft.com/office/drawing/2014/main" id="{663106EC-DAA5-AA7D-F177-F382E946E581}"/>
              </a:ext>
            </a:extLst>
          </p:cNvPr>
          <p:cNvGrpSpPr/>
          <p:nvPr/>
        </p:nvGrpSpPr>
        <p:grpSpPr>
          <a:xfrm>
            <a:off x="685229" y="2810114"/>
            <a:ext cx="5197411" cy="457200"/>
            <a:chOff x="685229" y="2810114"/>
            <a:chExt cx="5197411" cy="457200"/>
          </a:xfrm>
        </p:grpSpPr>
        <p:sp>
          <p:nvSpPr>
            <p:cNvPr id="9" name="Rectangle 8" descr="Bug">
              <a:extLst>
                <a:ext uri="{FF2B5EF4-FFF2-40B4-BE49-F238E27FC236}">
                  <a16:creationId xmlns:a16="http://schemas.microsoft.com/office/drawing/2014/main" id="{A092FF6C-7491-703D-5BC0-871239D13366}"/>
                </a:ext>
              </a:extLst>
            </p:cNvPr>
            <p:cNvSpPr/>
            <p:nvPr/>
          </p:nvSpPr>
          <p:spPr>
            <a:xfrm>
              <a:off x="685229" y="2810114"/>
              <a:ext cx="457200" cy="457200"/>
            </a:xfrm>
            <a:prstGeom prst="rect">
              <a:avLst/>
            </a:prstGeom>
            <a: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9" name="TextBox 18">
              <a:extLst>
                <a:ext uri="{FF2B5EF4-FFF2-40B4-BE49-F238E27FC236}">
                  <a16:creationId xmlns:a16="http://schemas.microsoft.com/office/drawing/2014/main" id="{DB38386B-B9B1-3153-B243-B81353C8E046}"/>
                </a:ext>
              </a:extLst>
            </p:cNvPr>
            <p:cNvSpPr txBox="1"/>
            <p:nvPr/>
          </p:nvSpPr>
          <p:spPr>
            <a:xfrm>
              <a:off x="1310640" y="2888673"/>
              <a:ext cx="4572000" cy="307777"/>
            </a:xfrm>
            <a:prstGeom prst="rect">
              <a:avLst/>
            </a:prstGeom>
            <a:noFill/>
          </p:spPr>
          <p:txBody>
            <a:bodyPr wrap="square">
              <a:spAutoFit/>
            </a:bodyPr>
            <a:lstStyle>
              <a:defPPr>
                <a:defRPr lang="de-DE"/>
              </a:defPPr>
              <a:lvl1pPr lvl="0">
                <a:lnSpc>
                  <a:spcPct val="100000"/>
                </a:lnSpc>
                <a:defRPr sz="1400">
                  <a:latin typeface="Verdana" panose="020B0604030504040204" pitchFamily="34" charset="0"/>
                  <a:ea typeface="Verdana" panose="020B0604030504040204" pitchFamily="34" charset="0"/>
                </a:defRPr>
              </a:lvl1pPr>
            </a:lstStyle>
            <a:p>
              <a:r>
                <a:rPr lang="en-US" dirty="0"/>
                <a:t>Bug reporting, patching, and tracking</a:t>
              </a:r>
            </a:p>
          </p:txBody>
        </p:sp>
      </p:grpSp>
      <p:grpSp>
        <p:nvGrpSpPr>
          <p:cNvPr id="28" name="Group 27">
            <a:extLst>
              <a:ext uri="{FF2B5EF4-FFF2-40B4-BE49-F238E27FC236}">
                <a16:creationId xmlns:a16="http://schemas.microsoft.com/office/drawing/2014/main" id="{721A7D8D-B6C0-7692-EA49-7E328B720702}"/>
              </a:ext>
            </a:extLst>
          </p:cNvPr>
          <p:cNvGrpSpPr/>
          <p:nvPr/>
        </p:nvGrpSpPr>
        <p:grpSpPr>
          <a:xfrm>
            <a:off x="696870" y="3433319"/>
            <a:ext cx="5185770" cy="457200"/>
            <a:chOff x="696870" y="3433319"/>
            <a:chExt cx="5185770" cy="457200"/>
          </a:xfrm>
        </p:grpSpPr>
        <p:sp>
          <p:nvSpPr>
            <p:cNvPr id="10" name="Rectangle 9" descr="Document">
              <a:extLst>
                <a:ext uri="{FF2B5EF4-FFF2-40B4-BE49-F238E27FC236}">
                  <a16:creationId xmlns:a16="http://schemas.microsoft.com/office/drawing/2014/main" id="{6461FDC7-24F0-2C13-5922-67FE868C0280}"/>
                </a:ext>
              </a:extLst>
            </p:cNvPr>
            <p:cNvSpPr/>
            <p:nvPr/>
          </p:nvSpPr>
          <p:spPr>
            <a:xfrm>
              <a:off x="696870" y="3433319"/>
              <a:ext cx="457200" cy="457200"/>
            </a:xfrm>
            <a:prstGeom prst="rect">
              <a:avLst/>
            </a:prstGeom>
            <a: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21" name="TextBox 20">
              <a:extLst>
                <a:ext uri="{FF2B5EF4-FFF2-40B4-BE49-F238E27FC236}">
                  <a16:creationId xmlns:a16="http://schemas.microsoft.com/office/drawing/2014/main" id="{BC7E7200-47A9-0F2B-FF15-15AEEC95C50F}"/>
                </a:ext>
              </a:extLst>
            </p:cNvPr>
            <p:cNvSpPr txBox="1"/>
            <p:nvPr/>
          </p:nvSpPr>
          <p:spPr>
            <a:xfrm>
              <a:off x="1310640" y="3516965"/>
              <a:ext cx="4572000" cy="307777"/>
            </a:xfrm>
            <a:prstGeom prst="rect">
              <a:avLst/>
            </a:prstGeom>
            <a:noFill/>
          </p:spPr>
          <p:txBody>
            <a:bodyPr wrap="square">
              <a:spAutoFit/>
            </a:bodyPr>
            <a:lstStyle>
              <a:defPPr>
                <a:defRPr lang="de-DE"/>
              </a:defPPr>
              <a:lvl1pPr lvl="0">
                <a:lnSpc>
                  <a:spcPct val="100000"/>
                </a:lnSpc>
                <a:defRPr sz="1400">
                  <a:latin typeface="Verdana" panose="020B0604030504040204" pitchFamily="34" charset="0"/>
                  <a:ea typeface="Verdana" panose="020B0604030504040204" pitchFamily="34" charset="0"/>
                </a:defRPr>
              </a:lvl1pPr>
            </a:lstStyle>
            <a:p>
              <a:r>
                <a:rPr lang="en-US" dirty="0"/>
                <a:t>Documentation hosting</a:t>
              </a:r>
            </a:p>
          </p:txBody>
        </p:sp>
      </p:grpSp>
      <p:grpSp>
        <p:nvGrpSpPr>
          <p:cNvPr id="29" name="Group 28">
            <a:extLst>
              <a:ext uri="{FF2B5EF4-FFF2-40B4-BE49-F238E27FC236}">
                <a16:creationId xmlns:a16="http://schemas.microsoft.com/office/drawing/2014/main" id="{DDBE14EE-498C-1584-883B-B5B98F16506C}"/>
              </a:ext>
            </a:extLst>
          </p:cNvPr>
          <p:cNvGrpSpPr/>
          <p:nvPr/>
        </p:nvGrpSpPr>
        <p:grpSpPr>
          <a:xfrm>
            <a:off x="696870" y="4056524"/>
            <a:ext cx="5185770" cy="457200"/>
            <a:chOff x="696870" y="4056524"/>
            <a:chExt cx="5185770" cy="457200"/>
          </a:xfrm>
        </p:grpSpPr>
        <p:sp>
          <p:nvSpPr>
            <p:cNvPr id="11" name="Rectangle 10" descr="Handshake">
              <a:extLst>
                <a:ext uri="{FF2B5EF4-FFF2-40B4-BE49-F238E27FC236}">
                  <a16:creationId xmlns:a16="http://schemas.microsoft.com/office/drawing/2014/main" id="{30BDC567-5F47-7F0E-6291-F436F949E5CE}"/>
                </a:ext>
              </a:extLst>
            </p:cNvPr>
            <p:cNvSpPr/>
            <p:nvPr/>
          </p:nvSpPr>
          <p:spPr>
            <a:xfrm>
              <a:off x="696870" y="4056524"/>
              <a:ext cx="457200" cy="457200"/>
            </a:xfrm>
            <a:prstGeom prst="rect">
              <a:avLst/>
            </a:prstGeom>
            <a: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23" name="TextBox 22">
              <a:extLst>
                <a:ext uri="{FF2B5EF4-FFF2-40B4-BE49-F238E27FC236}">
                  <a16:creationId xmlns:a16="http://schemas.microsoft.com/office/drawing/2014/main" id="{0B2EC90D-FABA-B1EA-BBD0-4138B1CFD14F}"/>
                </a:ext>
              </a:extLst>
            </p:cNvPr>
            <p:cNvSpPr txBox="1"/>
            <p:nvPr/>
          </p:nvSpPr>
          <p:spPr>
            <a:xfrm>
              <a:off x="1310640" y="4131235"/>
              <a:ext cx="4572000" cy="307777"/>
            </a:xfrm>
            <a:prstGeom prst="rect">
              <a:avLst/>
            </a:prstGeom>
            <a:noFill/>
          </p:spPr>
          <p:txBody>
            <a:bodyPr wrap="square">
              <a:spAutoFit/>
            </a:bodyPr>
            <a:lstStyle>
              <a:defPPr>
                <a:defRPr lang="de-DE"/>
              </a:defPPr>
              <a:lvl1pPr lvl="0">
                <a:lnSpc>
                  <a:spcPct val="100000"/>
                </a:lnSpc>
                <a:defRPr sz="1400">
                  <a:latin typeface="Verdana" panose="020B0604030504040204" pitchFamily="34" charset="0"/>
                  <a:ea typeface="Verdana" panose="020B0604030504040204" pitchFamily="34" charset="0"/>
                </a:defRPr>
              </a:lvl1pPr>
            </a:lstStyle>
            <a:p>
              <a:r>
                <a:rPr lang="en-US" dirty="0"/>
                <a:t>An environment that fosters collaboration</a:t>
              </a:r>
            </a:p>
          </p:txBody>
        </p:sp>
      </p:grpSp>
    </p:spTree>
    <p:custDataLst>
      <p:tags r:id="rId1"/>
    </p:custDataLst>
    <p:extLst>
      <p:ext uri="{BB962C8B-B14F-4D97-AF65-F5344CB8AC3E}">
        <p14:creationId xmlns:p14="http://schemas.microsoft.com/office/powerpoint/2010/main" val="3152146869"/>
      </p:ext>
    </p:extLst>
  </p:cSld>
  <p:clrMapOvr>
    <a:masterClrMapping/>
  </p:clrMapOvr>
  <p:transition spd="slow">
    <p:push/>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Checkout Remote Git Branches</a:t>
            </a:r>
            <a:endParaRPr lang="de-DE"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58358" y="867442"/>
            <a:ext cx="8188915" cy="1815882"/>
          </a:xfrm>
          <a:prstGeom prst="rect">
            <a:avLst/>
          </a:prstGeom>
          <a:noFill/>
        </p:spPr>
        <p:txBody>
          <a:bodyPr wrap="square">
            <a:spAutoFit/>
          </a:bodyPr>
          <a:lstStyle/>
          <a:p>
            <a:pPr marL="342900"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Checking out a commit allows you to view your repository in a previous state without needing to create a new branch or modify an existing branch. This can be helpful when debugging since it allows you to see if a bug exists in your repository at a previous commit.</a:t>
            </a:r>
          </a:p>
          <a:p>
            <a:pPr marL="342900" indent="-342900" algn="just">
              <a:buClr>
                <a:srgbClr val="990000"/>
              </a:buClr>
              <a:buFont typeface="Wingdings" panose="05000000000000000000" pitchFamily="2" charset="2"/>
              <a:buChar char="§"/>
            </a:pPr>
            <a:r>
              <a:rPr lang="en-US" sz="1400" dirty="0">
                <a:latin typeface="Verdana" panose="020B0604030504040204" pitchFamily="34" charset="0"/>
                <a:ea typeface="Verdana" panose="020B0604030504040204" pitchFamily="34" charset="0"/>
              </a:rPr>
              <a:t>Checking out a commit puts your repository in a "detached HEAD" state. In Git terminology "HEAD" is the reference that points to the tip, or latest commit, of a named branch in your repository. A "detached HEAD" state means that HEAD refers to a specific commit, but not on a named branch in your repository.</a:t>
            </a:r>
          </a:p>
        </p:txBody>
      </p:sp>
      <p:pic>
        <p:nvPicPr>
          <p:cNvPr id="3" name="Picture 2">
            <a:extLst>
              <a:ext uri="{FF2B5EF4-FFF2-40B4-BE49-F238E27FC236}">
                <a16:creationId xmlns:a16="http://schemas.microsoft.com/office/drawing/2014/main" id="{C226DCEF-D2AF-AF0A-E0E9-5F534AE4B5F8}"/>
              </a:ext>
            </a:extLst>
          </p:cNvPr>
          <p:cNvPicPr>
            <a:picLocks noChangeAspect="1"/>
          </p:cNvPicPr>
          <p:nvPr/>
        </p:nvPicPr>
        <p:blipFill>
          <a:blip r:embed="rId4"/>
          <a:stretch>
            <a:fillRect/>
          </a:stretch>
        </p:blipFill>
        <p:spPr>
          <a:xfrm>
            <a:off x="2716828" y="2683324"/>
            <a:ext cx="3247550" cy="2383739"/>
          </a:xfrm>
          <a:prstGeom prst="rect">
            <a:avLst/>
          </a:prstGeom>
        </p:spPr>
      </p:pic>
    </p:spTree>
    <p:custDataLst>
      <p:tags r:id="rId1"/>
    </p:custDataLst>
    <p:extLst>
      <p:ext uri="{BB962C8B-B14F-4D97-AF65-F5344CB8AC3E}">
        <p14:creationId xmlns:p14="http://schemas.microsoft.com/office/powerpoint/2010/main" val="2114527425"/>
      </p:ext>
    </p:extLst>
  </p:cSld>
  <p:clrMapOvr>
    <a:masterClrMapping/>
  </p:clrMapOvr>
  <p:transition spd="slow">
    <p:push/>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Git Ignore and .</a:t>
            </a:r>
            <a:r>
              <a:rPr lang="en-US" dirty="0" err="1"/>
              <a:t>gitignore</a:t>
            </a:r>
            <a:endParaRPr lang="de-DE"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58358" y="809386"/>
            <a:ext cx="8188915" cy="2031325"/>
          </a:xfrm>
          <a:prstGeom prst="rect">
            <a:avLst/>
          </a:prstGeom>
          <a:noFill/>
        </p:spPr>
        <p:txBody>
          <a:bodyPr wrap="square">
            <a:spAutoFit/>
          </a:bodyPr>
          <a:lstStyle/>
          <a:p>
            <a:pPr marL="342900"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When sharing your code with others, there are often files or parts of your project, you do not want to share. The .</a:t>
            </a:r>
            <a:r>
              <a:rPr lang="en-US" sz="1400" b="0" dirty="0" err="1">
                <a:solidFill>
                  <a:schemeClr val="tx1"/>
                </a:solidFill>
                <a:latin typeface="Verdana" panose="020B0604030504040204" pitchFamily="34" charset="0"/>
                <a:ea typeface="Verdana" panose="020B0604030504040204" pitchFamily="34" charset="0"/>
              </a:rPr>
              <a:t>gitignore</a:t>
            </a:r>
            <a:r>
              <a:rPr lang="en-US" sz="1400" b="0" dirty="0">
                <a:solidFill>
                  <a:schemeClr val="tx1"/>
                </a:solidFill>
                <a:latin typeface="Verdana" panose="020B0604030504040204" pitchFamily="34" charset="0"/>
                <a:ea typeface="Verdana" panose="020B0604030504040204" pitchFamily="34" charset="0"/>
              </a:rPr>
              <a:t> file is created automatically when you select 'Ignore file' from GitHub Desktop.</a:t>
            </a:r>
          </a:p>
          <a:p>
            <a:pPr marL="342900" indent="-342900" algn="just">
              <a:buClr>
                <a:srgbClr val="990000"/>
              </a:buClr>
              <a:buFont typeface="Wingdings" panose="05000000000000000000" pitchFamily="2" charset="2"/>
              <a:buChar char="§"/>
            </a:pPr>
            <a:r>
              <a:rPr lang="en-US" sz="1400" dirty="0">
                <a:latin typeface="Verdana" panose="020B0604030504040204" pitchFamily="34" charset="0"/>
                <a:ea typeface="Verdana" panose="020B0604030504040204" pitchFamily="34" charset="0"/>
              </a:rPr>
              <a:t>Git can specify which files or parts of your project should be ignored by Git using a .</a:t>
            </a:r>
            <a:r>
              <a:rPr lang="en-US" sz="1400" dirty="0" err="1">
                <a:latin typeface="Verdana" panose="020B0604030504040204" pitchFamily="34" charset="0"/>
                <a:ea typeface="Verdana" panose="020B0604030504040204" pitchFamily="34" charset="0"/>
              </a:rPr>
              <a:t>gitignore</a:t>
            </a:r>
            <a:r>
              <a:rPr lang="en-US" sz="1400" dirty="0">
                <a:latin typeface="Verdana" panose="020B0604030504040204" pitchFamily="34" charset="0"/>
                <a:ea typeface="Verdana" panose="020B0604030504040204" pitchFamily="34" charset="0"/>
              </a:rPr>
              <a:t> file.</a:t>
            </a:r>
          </a:p>
          <a:p>
            <a:pPr marL="342900" indent="-342900" algn="just">
              <a:buClr>
                <a:srgbClr val="990000"/>
              </a:buClr>
              <a:buFont typeface="Wingdings" panose="05000000000000000000" pitchFamily="2" charset="2"/>
              <a:buChar char="§"/>
            </a:pPr>
            <a:r>
              <a:rPr lang="en-US" sz="1400" dirty="0">
                <a:latin typeface="Verdana" panose="020B0604030504040204" pitchFamily="34" charset="0"/>
                <a:ea typeface="Verdana" panose="020B0604030504040204" pitchFamily="34" charset="0"/>
              </a:rPr>
              <a:t>Git will not track files and folders specified in .</a:t>
            </a:r>
            <a:r>
              <a:rPr lang="en-US" sz="1400" dirty="0" err="1">
                <a:latin typeface="Verdana" panose="020B0604030504040204" pitchFamily="34" charset="0"/>
                <a:ea typeface="Verdana" panose="020B0604030504040204" pitchFamily="34" charset="0"/>
              </a:rPr>
              <a:t>gitignore</a:t>
            </a:r>
            <a:r>
              <a:rPr lang="en-US" sz="1400" dirty="0">
                <a:latin typeface="Verdana" panose="020B0604030504040204" pitchFamily="34" charset="0"/>
                <a:ea typeface="Verdana" panose="020B0604030504040204" pitchFamily="34" charset="0"/>
              </a:rPr>
              <a:t>. However, the .</a:t>
            </a:r>
            <a:r>
              <a:rPr lang="en-US" sz="1400" dirty="0" err="1">
                <a:latin typeface="Verdana" panose="020B0604030504040204" pitchFamily="34" charset="0"/>
                <a:ea typeface="Verdana" panose="020B0604030504040204" pitchFamily="34" charset="0"/>
              </a:rPr>
              <a:t>gitignore</a:t>
            </a:r>
            <a:r>
              <a:rPr lang="en-US" sz="1400" dirty="0">
                <a:latin typeface="Verdana" panose="020B0604030504040204" pitchFamily="34" charset="0"/>
                <a:ea typeface="Verdana" panose="020B0604030504040204" pitchFamily="34" charset="0"/>
              </a:rPr>
              <a:t> file itself IS tracked by Git.</a:t>
            </a:r>
          </a:p>
          <a:p>
            <a:pPr marL="342900" indent="-342900" algn="just">
              <a:buClr>
                <a:srgbClr val="990000"/>
              </a:buClr>
              <a:buFont typeface="Wingdings" panose="05000000000000000000" pitchFamily="2" charset="2"/>
              <a:buChar char="§"/>
            </a:pPr>
            <a:r>
              <a:rPr lang="fr-FR" sz="1400" dirty="0">
                <a:latin typeface="Verdana" panose="020B0604030504040204" pitchFamily="34" charset="0"/>
                <a:ea typeface="Verdana" panose="020B0604030504040204" pitchFamily="34" charset="0"/>
                <a:hlinkClick r:id="rId4"/>
              </a:rPr>
              <a:t>Rules</a:t>
            </a:r>
            <a:r>
              <a:rPr lang="fr-FR" sz="1400" dirty="0">
                <a:latin typeface="Verdana" panose="020B0604030504040204" pitchFamily="34" charset="0"/>
                <a:ea typeface="Verdana" panose="020B0604030504040204" pitchFamily="34" charset="0"/>
              </a:rPr>
              <a:t> for .</a:t>
            </a:r>
            <a:r>
              <a:rPr lang="fr-FR" sz="1400" dirty="0" err="1">
                <a:latin typeface="Verdana" panose="020B0604030504040204" pitchFamily="34" charset="0"/>
                <a:ea typeface="Verdana" panose="020B0604030504040204" pitchFamily="34" charset="0"/>
              </a:rPr>
              <a:t>gitignore</a:t>
            </a:r>
            <a:endParaRPr lang="fr-FR" sz="1400" dirty="0">
              <a:latin typeface="Verdana" panose="020B0604030504040204" pitchFamily="34" charset="0"/>
              <a:ea typeface="Verdana" panose="020B0604030504040204" pitchFamily="34" charset="0"/>
            </a:endParaRPr>
          </a:p>
          <a:p>
            <a:pPr algn="just">
              <a:buClr>
                <a:srgbClr val="990000"/>
              </a:buClr>
            </a:pPr>
            <a:endParaRPr lang="fr-FR" sz="1400" dirty="0">
              <a:latin typeface="Verdana" panose="020B0604030504040204" pitchFamily="34" charset="0"/>
              <a:ea typeface="Verdana" panose="020B0604030504040204" pitchFamily="34" charset="0"/>
            </a:endParaRPr>
          </a:p>
        </p:txBody>
      </p:sp>
      <p:grpSp>
        <p:nvGrpSpPr>
          <p:cNvPr id="4" name="Group 3">
            <a:extLst>
              <a:ext uri="{FF2B5EF4-FFF2-40B4-BE49-F238E27FC236}">
                <a16:creationId xmlns:a16="http://schemas.microsoft.com/office/drawing/2014/main" id="{E4DF5CBD-BDEE-81F0-7E95-43983D288BCC}"/>
              </a:ext>
            </a:extLst>
          </p:cNvPr>
          <p:cNvGrpSpPr/>
          <p:nvPr/>
        </p:nvGrpSpPr>
        <p:grpSpPr>
          <a:xfrm>
            <a:off x="1669596" y="2787650"/>
            <a:ext cx="5804807" cy="1478381"/>
            <a:chOff x="1219200" y="9090247"/>
            <a:chExt cx="18549756" cy="4059470"/>
          </a:xfrm>
        </p:grpSpPr>
        <p:pic>
          <p:nvPicPr>
            <p:cNvPr id="5" name="Picture 4">
              <a:extLst>
                <a:ext uri="{FF2B5EF4-FFF2-40B4-BE49-F238E27FC236}">
                  <a16:creationId xmlns:a16="http://schemas.microsoft.com/office/drawing/2014/main" id="{3B2DE799-0FE7-21F4-826C-480652FD54D2}"/>
                </a:ext>
              </a:extLst>
            </p:cNvPr>
            <p:cNvPicPr>
              <a:picLocks noChangeAspect="1"/>
            </p:cNvPicPr>
            <p:nvPr/>
          </p:nvPicPr>
          <p:blipFill>
            <a:blip r:embed="rId5"/>
            <a:stretch>
              <a:fillRect/>
            </a:stretch>
          </p:blipFill>
          <p:spPr>
            <a:xfrm>
              <a:off x="1219200" y="9090248"/>
              <a:ext cx="6868344" cy="4059469"/>
            </a:xfrm>
            <a:prstGeom prst="rect">
              <a:avLst/>
            </a:prstGeom>
          </p:spPr>
        </p:pic>
        <p:pic>
          <p:nvPicPr>
            <p:cNvPr id="6" name="Picture 5">
              <a:extLst>
                <a:ext uri="{FF2B5EF4-FFF2-40B4-BE49-F238E27FC236}">
                  <a16:creationId xmlns:a16="http://schemas.microsoft.com/office/drawing/2014/main" id="{81F5552B-F518-3D3E-0FFC-D0F90BD7F723}"/>
                </a:ext>
              </a:extLst>
            </p:cNvPr>
            <p:cNvPicPr>
              <a:picLocks noChangeAspect="1"/>
            </p:cNvPicPr>
            <p:nvPr/>
          </p:nvPicPr>
          <p:blipFill>
            <a:blip r:embed="rId6"/>
            <a:stretch>
              <a:fillRect/>
            </a:stretch>
          </p:blipFill>
          <p:spPr>
            <a:xfrm>
              <a:off x="8807623" y="9090247"/>
              <a:ext cx="10961333" cy="3448893"/>
            </a:xfrm>
            <a:prstGeom prst="rect">
              <a:avLst/>
            </a:prstGeom>
          </p:spPr>
        </p:pic>
      </p:grpSp>
    </p:spTree>
    <p:custDataLst>
      <p:tags r:id="rId1"/>
    </p:custDataLst>
    <p:extLst>
      <p:ext uri="{BB962C8B-B14F-4D97-AF65-F5344CB8AC3E}">
        <p14:creationId xmlns:p14="http://schemas.microsoft.com/office/powerpoint/2010/main" val="3698176975"/>
      </p:ext>
    </p:extLst>
  </p:cSld>
  <p:clrMapOvr>
    <a:masterClrMapping/>
  </p:clrMapOvr>
  <p:transition spd="slow">
    <p:push/>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Push file conflict</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3751352"/>
          </a:xfrm>
        </p:spPr>
        <p:txBody>
          <a:bodyPr/>
          <a:lstStyle/>
          <a:p>
            <a:endParaRPr lang="en-US" sz="1600" b="0" dirty="0">
              <a:solidFill>
                <a:srgbClr val="333333"/>
              </a:solidFill>
            </a:endParaRPr>
          </a:p>
          <a:p>
            <a:endParaRPr lang="en-US" sz="1600" b="0" dirty="0">
              <a:solidFill>
                <a:srgbClr val="333333"/>
              </a:solidFill>
            </a:endParaRPr>
          </a:p>
          <a:p>
            <a:endParaRPr lang="en-US" sz="1600" b="0"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60000" y="1041434"/>
            <a:ext cx="7955280" cy="1815882"/>
          </a:xfrm>
          <a:prstGeom prst="rect">
            <a:avLst/>
          </a:prstGeom>
          <a:noFill/>
        </p:spPr>
        <p:txBody>
          <a:bodyPr wrap="square">
            <a:spAutoFit/>
          </a:bodyPr>
          <a:lstStyle/>
          <a:p>
            <a:pPr marL="285750" indent="-28575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If a file is edited in the online repository by another user, and I haven't received the latest changes on my PC, attempting to modify the same file at the same line will result in a conflict that needs to be resolved. When trying to push the changes, an error occurs: 'Newer commits on remote'. To resolve this, you should first press Fetch and then Pull to obtain the latest changes. After that, conflicts can be resolved manually by merging the files, or by using the modified file from a specific branch.</a:t>
            </a:r>
          </a:p>
          <a:p>
            <a:pPr marL="285750" indent="-285750" algn="just">
              <a:buClr>
                <a:srgbClr val="990000"/>
              </a:buClr>
              <a:buFont typeface="Wingdings" panose="05000000000000000000" pitchFamily="2" charset="2"/>
              <a:buChar char="§"/>
            </a:pPr>
            <a:endParaRPr lang="en-US" sz="1400" b="0" dirty="0">
              <a:solidFill>
                <a:schemeClr val="tx1"/>
              </a:solidFill>
              <a:latin typeface="Verdana" panose="020B0604030504040204" pitchFamily="34" charset="0"/>
              <a:ea typeface="Verdana" panose="020B0604030504040204" pitchFamily="34" charset="0"/>
            </a:endParaRPr>
          </a:p>
        </p:txBody>
      </p:sp>
      <p:grpSp>
        <p:nvGrpSpPr>
          <p:cNvPr id="5" name="Group 4">
            <a:extLst>
              <a:ext uri="{FF2B5EF4-FFF2-40B4-BE49-F238E27FC236}">
                <a16:creationId xmlns:a16="http://schemas.microsoft.com/office/drawing/2014/main" id="{2F7B89E7-94D5-C479-0B96-AA43552528AE}"/>
              </a:ext>
            </a:extLst>
          </p:cNvPr>
          <p:cNvGrpSpPr/>
          <p:nvPr/>
        </p:nvGrpSpPr>
        <p:grpSpPr>
          <a:xfrm>
            <a:off x="1476167" y="2495247"/>
            <a:ext cx="6191666" cy="2064725"/>
            <a:chOff x="1633089" y="6103765"/>
            <a:chExt cx="20857675" cy="5955963"/>
          </a:xfrm>
        </p:grpSpPr>
        <p:pic>
          <p:nvPicPr>
            <p:cNvPr id="8" name="Picture 7">
              <a:extLst>
                <a:ext uri="{FF2B5EF4-FFF2-40B4-BE49-F238E27FC236}">
                  <a16:creationId xmlns:a16="http://schemas.microsoft.com/office/drawing/2014/main" id="{4B7F8C23-E942-21E8-FA74-B0953DDB0C7B}"/>
                </a:ext>
              </a:extLst>
            </p:cNvPr>
            <p:cNvPicPr>
              <a:picLocks noChangeAspect="1"/>
            </p:cNvPicPr>
            <p:nvPr/>
          </p:nvPicPr>
          <p:blipFill>
            <a:blip r:embed="rId3"/>
            <a:stretch>
              <a:fillRect/>
            </a:stretch>
          </p:blipFill>
          <p:spPr>
            <a:xfrm>
              <a:off x="1660845" y="6103765"/>
              <a:ext cx="13819139" cy="2183009"/>
            </a:xfrm>
            <a:prstGeom prst="rect">
              <a:avLst/>
            </a:prstGeom>
          </p:spPr>
        </p:pic>
        <p:pic>
          <p:nvPicPr>
            <p:cNvPr id="9" name="Picture 8">
              <a:extLst>
                <a:ext uri="{FF2B5EF4-FFF2-40B4-BE49-F238E27FC236}">
                  <a16:creationId xmlns:a16="http://schemas.microsoft.com/office/drawing/2014/main" id="{EE3735F3-28E4-4226-1D03-F92223152C39}"/>
                </a:ext>
              </a:extLst>
            </p:cNvPr>
            <p:cNvPicPr>
              <a:picLocks noChangeAspect="1"/>
            </p:cNvPicPr>
            <p:nvPr/>
          </p:nvPicPr>
          <p:blipFill>
            <a:blip r:embed="rId4"/>
            <a:stretch>
              <a:fillRect/>
            </a:stretch>
          </p:blipFill>
          <p:spPr>
            <a:xfrm>
              <a:off x="16122765" y="6103765"/>
              <a:ext cx="6367999" cy="2183009"/>
            </a:xfrm>
            <a:prstGeom prst="rect">
              <a:avLst/>
            </a:prstGeom>
          </p:spPr>
        </p:pic>
        <p:pic>
          <p:nvPicPr>
            <p:cNvPr id="10" name="Picture 9">
              <a:extLst>
                <a:ext uri="{FF2B5EF4-FFF2-40B4-BE49-F238E27FC236}">
                  <a16:creationId xmlns:a16="http://schemas.microsoft.com/office/drawing/2014/main" id="{D7154FE8-0FF7-0E1B-E79A-DDF3D0D18C55}"/>
                </a:ext>
              </a:extLst>
            </p:cNvPr>
            <p:cNvPicPr>
              <a:picLocks noChangeAspect="1"/>
            </p:cNvPicPr>
            <p:nvPr/>
          </p:nvPicPr>
          <p:blipFill>
            <a:blip r:embed="rId5"/>
            <a:stretch>
              <a:fillRect/>
            </a:stretch>
          </p:blipFill>
          <p:spPr>
            <a:xfrm>
              <a:off x="1633089" y="8971472"/>
              <a:ext cx="9577064" cy="3088256"/>
            </a:xfrm>
            <a:prstGeom prst="rect">
              <a:avLst/>
            </a:prstGeom>
          </p:spPr>
        </p:pic>
      </p:grpSp>
    </p:spTree>
    <p:custDataLst>
      <p:tags r:id="rId1"/>
    </p:custDataLst>
    <p:extLst>
      <p:ext uri="{BB962C8B-B14F-4D97-AF65-F5344CB8AC3E}">
        <p14:creationId xmlns:p14="http://schemas.microsoft.com/office/powerpoint/2010/main" val="1750625422"/>
      </p:ext>
    </p:extLst>
  </p:cSld>
  <p:clrMapOvr>
    <a:masterClrMapping/>
  </p:clrMapOvr>
  <p:transition spd="slow">
    <p:push/>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Open a pull request with file conflict</a:t>
            </a:r>
            <a:endParaRPr lang="de-DE" dirty="0"/>
          </a:p>
        </p:txBody>
      </p:sp>
      <p:sp>
        <p:nvSpPr>
          <p:cNvPr id="7" name="TextBox 6">
            <a:extLst>
              <a:ext uri="{FF2B5EF4-FFF2-40B4-BE49-F238E27FC236}">
                <a16:creationId xmlns:a16="http://schemas.microsoft.com/office/drawing/2014/main" id="{ABA5EC5E-E9F5-6036-0697-AB5D62046384}"/>
              </a:ext>
            </a:extLst>
          </p:cNvPr>
          <p:cNvSpPr txBox="1"/>
          <p:nvPr/>
        </p:nvSpPr>
        <p:spPr>
          <a:xfrm>
            <a:off x="405217" y="1269397"/>
            <a:ext cx="3413714" cy="1169551"/>
          </a:xfrm>
          <a:prstGeom prst="rect">
            <a:avLst/>
          </a:prstGeom>
          <a:noFill/>
        </p:spPr>
        <p:txBody>
          <a:bodyPr wrap="square">
            <a:spAutoFit/>
          </a:bodyPr>
          <a:lstStyle/>
          <a:p>
            <a:pPr marL="342900"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A file conflict was found for file.txt. To proceed with the merge, it is necessary to resolve these conflicts.</a:t>
            </a:r>
            <a:endParaRPr lang="en-US" sz="1400" dirty="0">
              <a:latin typeface="Verdana" panose="020B0604030504040204" pitchFamily="34" charset="0"/>
              <a:ea typeface="Verdana" panose="020B0604030504040204" pitchFamily="34" charset="0"/>
            </a:endParaRPr>
          </a:p>
          <a:p>
            <a:pPr marL="285750" indent="-285750" algn="just">
              <a:buClr>
                <a:srgbClr val="990000"/>
              </a:buClr>
              <a:buFont typeface="Wingdings" panose="05000000000000000000" pitchFamily="2" charset="2"/>
              <a:buChar char="§"/>
            </a:pPr>
            <a:endParaRPr lang="en-US" sz="1400" b="0" dirty="0">
              <a:solidFill>
                <a:schemeClr val="tx1"/>
              </a:solidFill>
              <a:latin typeface="Verdana" panose="020B0604030504040204" pitchFamily="34" charset="0"/>
              <a:ea typeface="Verdana" panose="020B0604030504040204" pitchFamily="34" charset="0"/>
            </a:endParaRPr>
          </a:p>
        </p:txBody>
      </p:sp>
      <p:grpSp>
        <p:nvGrpSpPr>
          <p:cNvPr id="4" name="Group 3">
            <a:extLst>
              <a:ext uri="{FF2B5EF4-FFF2-40B4-BE49-F238E27FC236}">
                <a16:creationId xmlns:a16="http://schemas.microsoft.com/office/drawing/2014/main" id="{3DFE3D22-6009-5705-D79F-7190E9CA7515}"/>
              </a:ext>
            </a:extLst>
          </p:cNvPr>
          <p:cNvGrpSpPr/>
          <p:nvPr/>
        </p:nvGrpSpPr>
        <p:grpSpPr>
          <a:xfrm>
            <a:off x="4238172" y="1269397"/>
            <a:ext cx="3752328" cy="3502113"/>
            <a:chOff x="12442235" y="2753544"/>
            <a:chExt cx="9902893" cy="9774178"/>
          </a:xfrm>
        </p:grpSpPr>
        <p:pic>
          <p:nvPicPr>
            <p:cNvPr id="5" name="Picture 4">
              <a:extLst>
                <a:ext uri="{FF2B5EF4-FFF2-40B4-BE49-F238E27FC236}">
                  <a16:creationId xmlns:a16="http://schemas.microsoft.com/office/drawing/2014/main" id="{7BE949DF-E3B5-5B3C-40F7-599AB3075D5C}"/>
                </a:ext>
              </a:extLst>
            </p:cNvPr>
            <p:cNvPicPr>
              <a:picLocks noChangeAspect="1"/>
            </p:cNvPicPr>
            <p:nvPr/>
          </p:nvPicPr>
          <p:blipFill>
            <a:blip r:embed="rId3"/>
            <a:stretch>
              <a:fillRect/>
            </a:stretch>
          </p:blipFill>
          <p:spPr>
            <a:xfrm>
              <a:off x="12473911" y="2753544"/>
              <a:ext cx="9871217" cy="2653552"/>
            </a:xfrm>
            <a:prstGeom prst="rect">
              <a:avLst/>
            </a:prstGeom>
          </p:spPr>
        </p:pic>
        <p:pic>
          <p:nvPicPr>
            <p:cNvPr id="6" name="Content Placeholder 6">
              <a:extLst>
                <a:ext uri="{FF2B5EF4-FFF2-40B4-BE49-F238E27FC236}">
                  <a16:creationId xmlns:a16="http://schemas.microsoft.com/office/drawing/2014/main" id="{ACBB17BD-F0A0-DBDA-8A08-C2BB93381A08}"/>
                </a:ext>
              </a:extLst>
            </p:cNvPr>
            <p:cNvPicPr>
              <a:picLocks noChangeAspect="1"/>
            </p:cNvPicPr>
            <p:nvPr/>
          </p:nvPicPr>
          <p:blipFill>
            <a:blip r:embed="rId4"/>
            <a:stretch>
              <a:fillRect/>
            </a:stretch>
          </p:blipFill>
          <p:spPr>
            <a:xfrm>
              <a:off x="12442235" y="5407096"/>
              <a:ext cx="9902893" cy="7120626"/>
            </a:xfrm>
            <a:prstGeom prst="rect">
              <a:avLst/>
            </a:prstGeom>
          </p:spPr>
        </p:pic>
      </p:grpSp>
    </p:spTree>
    <p:custDataLst>
      <p:tags r:id="rId1"/>
    </p:custDataLst>
    <p:extLst>
      <p:ext uri="{BB962C8B-B14F-4D97-AF65-F5344CB8AC3E}">
        <p14:creationId xmlns:p14="http://schemas.microsoft.com/office/powerpoint/2010/main" val="935045384"/>
      </p:ext>
    </p:extLst>
  </p:cSld>
  <p:clrMapOvr>
    <a:masterClrMapping/>
  </p:clrMapOvr>
  <p:transition spd="slow">
    <p:push/>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How to solve the conflict for Pull request</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1928526"/>
          </a:xfrm>
        </p:spPr>
        <p:txBody>
          <a:bodyPr/>
          <a:lstStyle/>
          <a:p>
            <a:endParaRPr lang="en-US" sz="1600" b="0" dirty="0">
              <a:solidFill>
                <a:srgbClr val="333333"/>
              </a:solidFill>
            </a:endParaRPr>
          </a:p>
          <a:p>
            <a:endParaRPr lang="en-US" sz="1600" b="0" dirty="0">
              <a:solidFill>
                <a:srgbClr val="333333"/>
              </a:solidFill>
            </a:endParaRPr>
          </a:p>
          <a:p>
            <a:endParaRPr lang="en-US" sz="1600" b="0"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60000" y="1041434"/>
            <a:ext cx="7955280" cy="954107"/>
          </a:xfrm>
          <a:prstGeom prst="rect">
            <a:avLst/>
          </a:prstGeom>
          <a:noFill/>
        </p:spPr>
        <p:txBody>
          <a:bodyPr wrap="square">
            <a:spAutoFit/>
          </a:bodyPr>
          <a:lstStyle/>
          <a:p>
            <a:pPr marL="285750" indent="-28575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After pressing 'Resolve conflict', the file will be displayed, highlighting the areas of conflict. The content from your branch will be marked in red, while the content from the main repository will be marked in blue. It's up to the user to decide which context to keep.</a:t>
            </a:r>
          </a:p>
        </p:txBody>
      </p:sp>
      <p:pic>
        <p:nvPicPr>
          <p:cNvPr id="5" name="Picture 4">
            <a:extLst>
              <a:ext uri="{FF2B5EF4-FFF2-40B4-BE49-F238E27FC236}">
                <a16:creationId xmlns:a16="http://schemas.microsoft.com/office/drawing/2014/main" id="{C48B1EE8-8B3C-9680-BAA7-C523FA558108}"/>
              </a:ext>
            </a:extLst>
          </p:cNvPr>
          <p:cNvPicPr>
            <a:picLocks noChangeAspect="1"/>
          </p:cNvPicPr>
          <p:nvPr/>
        </p:nvPicPr>
        <p:blipFill>
          <a:blip r:embed="rId3"/>
          <a:stretch>
            <a:fillRect/>
          </a:stretch>
        </p:blipFill>
        <p:spPr>
          <a:xfrm>
            <a:off x="1656033" y="2154172"/>
            <a:ext cx="5831934" cy="700174"/>
          </a:xfrm>
          <a:prstGeom prst="rect">
            <a:avLst/>
          </a:prstGeom>
        </p:spPr>
      </p:pic>
      <p:sp>
        <p:nvSpPr>
          <p:cNvPr id="8" name="TextBox 7">
            <a:extLst>
              <a:ext uri="{FF2B5EF4-FFF2-40B4-BE49-F238E27FC236}">
                <a16:creationId xmlns:a16="http://schemas.microsoft.com/office/drawing/2014/main" id="{4A94E2A1-466B-84FC-4B1F-6863CCA43D48}"/>
              </a:ext>
            </a:extLst>
          </p:cNvPr>
          <p:cNvSpPr txBox="1"/>
          <p:nvPr/>
        </p:nvSpPr>
        <p:spPr>
          <a:xfrm>
            <a:off x="616856" y="2901737"/>
            <a:ext cx="7698423" cy="461665"/>
          </a:xfrm>
          <a:prstGeom prst="rect">
            <a:avLst/>
          </a:prstGeom>
          <a:noFill/>
        </p:spPr>
        <p:txBody>
          <a:bodyPr wrap="square">
            <a:spAutoFit/>
          </a:bodyPr>
          <a:lstStyle/>
          <a:p>
            <a:pPr marL="285750" indent="-285750" algn="just">
              <a:buClr>
                <a:srgbClr val="990000"/>
              </a:buClr>
              <a:buFont typeface="Wingdings" panose="05000000000000000000" pitchFamily="2" charset="2"/>
              <a:buChar char="§"/>
            </a:pPr>
            <a:r>
              <a:rPr lang="en-US" sz="1200" b="0" dirty="0">
                <a:solidFill>
                  <a:schemeClr val="tx1"/>
                </a:solidFill>
                <a:latin typeface="Verdana" panose="020B0604030504040204" pitchFamily="34" charset="0"/>
                <a:ea typeface="Verdana" panose="020B0604030504040204" pitchFamily="34" charset="0"/>
              </a:rPr>
              <a:t>After resolving the conflict and deciding on the preferred version, a new commit will be created for the merge.</a:t>
            </a:r>
          </a:p>
        </p:txBody>
      </p:sp>
      <p:pic>
        <p:nvPicPr>
          <p:cNvPr id="9" name="Picture 8">
            <a:extLst>
              <a:ext uri="{FF2B5EF4-FFF2-40B4-BE49-F238E27FC236}">
                <a16:creationId xmlns:a16="http://schemas.microsoft.com/office/drawing/2014/main" id="{83B32A6C-B7B6-BA7D-012B-3E6AE14275C9}"/>
              </a:ext>
            </a:extLst>
          </p:cNvPr>
          <p:cNvPicPr>
            <a:picLocks noChangeAspect="1"/>
          </p:cNvPicPr>
          <p:nvPr/>
        </p:nvPicPr>
        <p:blipFill>
          <a:blip r:embed="rId4"/>
          <a:stretch>
            <a:fillRect/>
          </a:stretch>
        </p:blipFill>
        <p:spPr>
          <a:xfrm>
            <a:off x="1656033" y="3442931"/>
            <a:ext cx="5831934" cy="848357"/>
          </a:xfrm>
          <a:prstGeom prst="rect">
            <a:avLst/>
          </a:prstGeom>
        </p:spPr>
      </p:pic>
    </p:spTree>
    <p:custDataLst>
      <p:tags r:id="rId1"/>
    </p:custDataLst>
    <p:extLst>
      <p:ext uri="{BB962C8B-B14F-4D97-AF65-F5344CB8AC3E}">
        <p14:creationId xmlns:p14="http://schemas.microsoft.com/office/powerpoint/2010/main" val="938475217"/>
      </p:ext>
    </p:extLst>
  </p:cSld>
  <p:clrMapOvr>
    <a:masterClrMapping/>
  </p:clrMapOvr>
  <p:transition spd="slow">
    <p:push/>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Files changed in pull request</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1928526"/>
          </a:xfrm>
        </p:spPr>
        <p:txBody>
          <a:bodyPr/>
          <a:lstStyle/>
          <a:p>
            <a:endParaRPr lang="en-US" sz="1600" b="0" dirty="0">
              <a:solidFill>
                <a:srgbClr val="333333"/>
              </a:solidFill>
            </a:endParaRPr>
          </a:p>
          <a:p>
            <a:endParaRPr lang="en-US" sz="1600" b="0" dirty="0">
              <a:solidFill>
                <a:srgbClr val="333333"/>
              </a:solidFill>
            </a:endParaRPr>
          </a:p>
          <a:p>
            <a:endParaRPr lang="en-US" sz="1600" b="0"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60000" y="1325016"/>
            <a:ext cx="7955280" cy="954107"/>
          </a:xfrm>
          <a:prstGeom prst="rect">
            <a:avLst/>
          </a:prstGeom>
          <a:noFill/>
        </p:spPr>
        <p:txBody>
          <a:bodyPr wrap="square">
            <a:spAutoFit/>
          </a:bodyPr>
          <a:lstStyle/>
          <a:p>
            <a:pPr marL="285750" indent="-28575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If you go to the 'Files changed' tab, you can see the files that have been changed in your branch</a:t>
            </a:r>
          </a:p>
          <a:p>
            <a:pPr marL="285750" indent="-28575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On the right side, there is a 'Review changes' button where you can add comments.</a:t>
            </a:r>
          </a:p>
        </p:txBody>
      </p:sp>
      <p:pic>
        <p:nvPicPr>
          <p:cNvPr id="3" name="Picture 2">
            <a:extLst>
              <a:ext uri="{FF2B5EF4-FFF2-40B4-BE49-F238E27FC236}">
                <a16:creationId xmlns:a16="http://schemas.microsoft.com/office/drawing/2014/main" id="{FC1E19EF-E537-378A-E0AA-FF030C5669B0}"/>
              </a:ext>
            </a:extLst>
          </p:cNvPr>
          <p:cNvPicPr>
            <a:picLocks noChangeAspect="1"/>
          </p:cNvPicPr>
          <p:nvPr/>
        </p:nvPicPr>
        <p:blipFill>
          <a:blip r:embed="rId3"/>
          <a:stretch>
            <a:fillRect/>
          </a:stretch>
        </p:blipFill>
        <p:spPr>
          <a:xfrm>
            <a:off x="785092" y="2571750"/>
            <a:ext cx="7570542" cy="1523914"/>
          </a:xfrm>
          <a:prstGeom prst="rect">
            <a:avLst/>
          </a:prstGeom>
        </p:spPr>
      </p:pic>
    </p:spTree>
    <p:custDataLst>
      <p:tags r:id="rId1"/>
    </p:custDataLst>
    <p:extLst>
      <p:ext uri="{BB962C8B-B14F-4D97-AF65-F5344CB8AC3E}">
        <p14:creationId xmlns:p14="http://schemas.microsoft.com/office/powerpoint/2010/main" val="2252146255"/>
      </p:ext>
    </p:extLst>
  </p:cSld>
  <p:clrMapOvr>
    <a:masterClrMapping/>
  </p:clrMapOvr>
  <p:transition spd="slow">
    <p:push/>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Review changes for files</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898012"/>
          </a:xfrm>
        </p:spPr>
        <p:txBody>
          <a:bodyPr/>
          <a:lstStyle/>
          <a:p>
            <a:endParaRPr lang="en-US" sz="1600" b="0" dirty="0">
              <a:solidFill>
                <a:srgbClr val="333333"/>
              </a:solidFill>
            </a:endParaRPr>
          </a:p>
          <a:p>
            <a:endParaRPr lang="en-US" sz="1600" b="0" dirty="0">
              <a:solidFill>
                <a:srgbClr val="333333"/>
              </a:solidFill>
            </a:endParaRPr>
          </a:p>
          <a:p>
            <a:endParaRPr lang="en-US" sz="1600" b="0"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60000" y="1325016"/>
            <a:ext cx="7955280" cy="307777"/>
          </a:xfrm>
          <a:prstGeom prst="rect">
            <a:avLst/>
          </a:prstGeom>
          <a:noFill/>
        </p:spPr>
        <p:txBody>
          <a:bodyPr wrap="square">
            <a:spAutoFit/>
          </a:bodyPr>
          <a:lstStyle/>
          <a:p>
            <a:pPr marL="285750" indent="-285750" algn="just">
              <a:buClr>
                <a:srgbClr val="990000"/>
              </a:buClr>
              <a:buFont typeface="Wingdings" panose="05000000000000000000" pitchFamily="2" charset="2"/>
              <a:buChar char="§"/>
            </a:pPr>
            <a:r>
              <a:rPr lang="en-US" sz="1400" dirty="0">
                <a:latin typeface="Verdana" panose="020B0604030504040204" pitchFamily="34" charset="0"/>
                <a:ea typeface="Verdana" panose="020B0604030504040204" pitchFamily="34" charset="0"/>
              </a:rPr>
              <a:t>You can add comments for the changes made to each file</a:t>
            </a:r>
          </a:p>
        </p:txBody>
      </p:sp>
      <p:pic>
        <p:nvPicPr>
          <p:cNvPr id="5" name="Picture 4">
            <a:extLst>
              <a:ext uri="{FF2B5EF4-FFF2-40B4-BE49-F238E27FC236}">
                <a16:creationId xmlns:a16="http://schemas.microsoft.com/office/drawing/2014/main" id="{1E3C0665-5BD0-33E7-455D-E4ABF2FF9573}"/>
              </a:ext>
            </a:extLst>
          </p:cNvPr>
          <p:cNvPicPr>
            <a:picLocks noChangeAspect="1"/>
          </p:cNvPicPr>
          <p:nvPr/>
        </p:nvPicPr>
        <p:blipFill>
          <a:blip r:embed="rId3"/>
          <a:stretch>
            <a:fillRect/>
          </a:stretch>
        </p:blipFill>
        <p:spPr>
          <a:xfrm>
            <a:off x="1342450" y="2099705"/>
            <a:ext cx="6459100" cy="2226792"/>
          </a:xfrm>
          <a:prstGeom prst="rect">
            <a:avLst/>
          </a:prstGeom>
        </p:spPr>
      </p:pic>
    </p:spTree>
    <p:custDataLst>
      <p:tags r:id="rId1"/>
    </p:custDataLst>
    <p:extLst>
      <p:ext uri="{BB962C8B-B14F-4D97-AF65-F5344CB8AC3E}">
        <p14:creationId xmlns:p14="http://schemas.microsoft.com/office/powerpoint/2010/main" val="224875557"/>
      </p:ext>
    </p:extLst>
  </p:cSld>
  <p:clrMapOvr>
    <a:masterClrMapping/>
  </p:clrMapOvr>
  <p:transition spd="slow">
    <p:push/>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Pull request conflict for files non-text</a:t>
            </a:r>
            <a:endParaRPr lang="de-DE"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60000" y="1041434"/>
            <a:ext cx="3573372" cy="1384995"/>
          </a:xfrm>
          <a:prstGeom prst="rect">
            <a:avLst/>
          </a:prstGeom>
          <a:noFill/>
        </p:spPr>
        <p:txBody>
          <a:bodyPr wrap="square">
            <a:spAutoFit/>
          </a:bodyPr>
          <a:lstStyle/>
          <a:p>
            <a:pPr marL="342900"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In the case of a .xlsx file, resolving conflicts is not directly supported by Git because Git cannot open the file. This means that conflicts must be resolved locally on your PC.</a:t>
            </a:r>
          </a:p>
        </p:txBody>
      </p:sp>
      <p:pic>
        <p:nvPicPr>
          <p:cNvPr id="6" name="Picture 5">
            <a:extLst>
              <a:ext uri="{FF2B5EF4-FFF2-40B4-BE49-F238E27FC236}">
                <a16:creationId xmlns:a16="http://schemas.microsoft.com/office/drawing/2014/main" id="{097DD42C-F2AF-3E71-581A-B3A5F96CBF44}"/>
              </a:ext>
            </a:extLst>
          </p:cNvPr>
          <p:cNvPicPr>
            <a:picLocks noChangeAspect="1"/>
          </p:cNvPicPr>
          <p:nvPr/>
        </p:nvPicPr>
        <p:blipFill>
          <a:blip r:embed="rId3"/>
          <a:stretch>
            <a:fillRect/>
          </a:stretch>
        </p:blipFill>
        <p:spPr>
          <a:xfrm>
            <a:off x="4092083" y="1041434"/>
            <a:ext cx="4691917" cy="3551730"/>
          </a:xfrm>
          <a:prstGeom prst="rect">
            <a:avLst/>
          </a:prstGeom>
        </p:spPr>
      </p:pic>
    </p:spTree>
    <p:custDataLst>
      <p:tags r:id="rId1"/>
    </p:custDataLst>
    <p:extLst>
      <p:ext uri="{BB962C8B-B14F-4D97-AF65-F5344CB8AC3E}">
        <p14:creationId xmlns:p14="http://schemas.microsoft.com/office/powerpoint/2010/main" val="942363742"/>
      </p:ext>
    </p:extLst>
  </p:cSld>
  <p:clrMapOvr>
    <a:masterClrMapping/>
  </p:clrMapOvr>
  <p:transition spd="slow">
    <p:push/>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Rebase your branch with main</a:t>
            </a:r>
            <a:endParaRPr lang="de-DE"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60000" y="1041434"/>
            <a:ext cx="3573372" cy="3323987"/>
          </a:xfrm>
          <a:prstGeom prst="rect">
            <a:avLst/>
          </a:prstGeom>
          <a:noFill/>
        </p:spPr>
        <p:txBody>
          <a:bodyPr wrap="square">
            <a:spAutoFit/>
          </a:bodyPr>
          <a:lstStyle/>
          <a:p>
            <a:pPr marL="342900"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To resolve the conflict, it is necessary to rebase the branch, which involves obtaining the differences between the main branch and your branch and merging them. </a:t>
            </a:r>
          </a:p>
          <a:p>
            <a:pPr marL="342900"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To resolve the conflict, it is necessary to rebase the branch, which involves obtaining the differences between the main branch and your branch and merging them. </a:t>
            </a:r>
          </a:p>
          <a:p>
            <a:pPr marL="342900"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Once the conflicts are resolved, you can proceed with the pull request and merge.</a:t>
            </a:r>
          </a:p>
        </p:txBody>
      </p:sp>
      <p:grpSp>
        <p:nvGrpSpPr>
          <p:cNvPr id="3" name="Group 2">
            <a:extLst>
              <a:ext uri="{FF2B5EF4-FFF2-40B4-BE49-F238E27FC236}">
                <a16:creationId xmlns:a16="http://schemas.microsoft.com/office/drawing/2014/main" id="{1980CA3E-8A0E-B191-6561-D5735DE12ABE}"/>
              </a:ext>
            </a:extLst>
          </p:cNvPr>
          <p:cNvGrpSpPr/>
          <p:nvPr/>
        </p:nvGrpSpPr>
        <p:grpSpPr>
          <a:xfrm>
            <a:off x="4812501" y="1041434"/>
            <a:ext cx="3286470" cy="3122490"/>
            <a:chOff x="13848184" y="2897560"/>
            <a:chExt cx="9587398" cy="9550374"/>
          </a:xfrm>
        </p:grpSpPr>
        <p:pic>
          <p:nvPicPr>
            <p:cNvPr id="4" name="Picture 3">
              <a:extLst>
                <a:ext uri="{FF2B5EF4-FFF2-40B4-BE49-F238E27FC236}">
                  <a16:creationId xmlns:a16="http://schemas.microsoft.com/office/drawing/2014/main" id="{25BB874E-9FC7-9D06-569B-9D1C7EB519B5}"/>
                </a:ext>
              </a:extLst>
            </p:cNvPr>
            <p:cNvPicPr>
              <a:picLocks noChangeAspect="1"/>
            </p:cNvPicPr>
            <p:nvPr/>
          </p:nvPicPr>
          <p:blipFill>
            <a:blip r:embed="rId3"/>
            <a:stretch>
              <a:fillRect/>
            </a:stretch>
          </p:blipFill>
          <p:spPr>
            <a:xfrm>
              <a:off x="13848184" y="2897560"/>
              <a:ext cx="5688632" cy="5971137"/>
            </a:xfrm>
            <a:prstGeom prst="rect">
              <a:avLst/>
            </a:prstGeom>
          </p:spPr>
        </p:pic>
        <p:pic>
          <p:nvPicPr>
            <p:cNvPr id="5" name="Picture 4">
              <a:extLst>
                <a:ext uri="{FF2B5EF4-FFF2-40B4-BE49-F238E27FC236}">
                  <a16:creationId xmlns:a16="http://schemas.microsoft.com/office/drawing/2014/main" id="{45E248F3-369A-E126-6A05-A8D2FFD5A174}"/>
                </a:ext>
              </a:extLst>
            </p:cNvPr>
            <p:cNvPicPr>
              <a:picLocks noChangeAspect="1"/>
            </p:cNvPicPr>
            <p:nvPr/>
          </p:nvPicPr>
          <p:blipFill>
            <a:blip r:embed="rId4"/>
            <a:stretch>
              <a:fillRect/>
            </a:stretch>
          </p:blipFill>
          <p:spPr>
            <a:xfrm>
              <a:off x="13853814" y="8868697"/>
              <a:ext cx="9581768" cy="3579237"/>
            </a:xfrm>
            <a:prstGeom prst="rect">
              <a:avLst/>
            </a:prstGeom>
          </p:spPr>
        </p:pic>
      </p:grpSp>
    </p:spTree>
    <p:custDataLst>
      <p:tags r:id="rId1"/>
    </p:custDataLst>
    <p:extLst>
      <p:ext uri="{BB962C8B-B14F-4D97-AF65-F5344CB8AC3E}">
        <p14:creationId xmlns:p14="http://schemas.microsoft.com/office/powerpoint/2010/main" val="4258291126"/>
      </p:ext>
    </p:extLst>
  </p:cSld>
  <p:clrMapOvr>
    <a:masterClrMapping/>
  </p:clrMapOvr>
  <p:transition spd="slow">
    <p:push/>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Merge pull request</a:t>
            </a:r>
            <a:endParaRPr lang="de-DE"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60000" y="1041434"/>
            <a:ext cx="5242514" cy="3108543"/>
          </a:xfrm>
          <a:prstGeom prst="rect">
            <a:avLst/>
          </a:prstGeom>
          <a:noFill/>
        </p:spPr>
        <p:txBody>
          <a:bodyPr wrap="square">
            <a:spAutoFit/>
          </a:bodyPr>
          <a:lstStyle/>
          <a:p>
            <a:pPr marL="342900"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After resolving the conflicts, you can proceed with the pull request, which offers three types of merges:</a:t>
            </a:r>
          </a:p>
          <a:p>
            <a:pPr marL="685800" lvl="1"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Create a merge commit: This option creates a new merge commit in the target branch, preserving the commit history of both branches</a:t>
            </a:r>
          </a:p>
          <a:p>
            <a:pPr marL="685800" lvl="1"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Squash and merge: This option condenses all the commits from the feature branch into a single commit before merging into the target branch.</a:t>
            </a:r>
          </a:p>
          <a:p>
            <a:pPr marL="685800" lvl="1" indent="-34290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Rebase and merge: This option rewrites the commit history of the feature branch onto the target branch, resulting in a linear commit history without additional merge commits.</a:t>
            </a:r>
          </a:p>
        </p:txBody>
      </p:sp>
      <p:pic>
        <p:nvPicPr>
          <p:cNvPr id="6" name="Picture 5">
            <a:extLst>
              <a:ext uri="{FF2B5EF4-FFF2-40B4-BE49-F238E27FC236}">
                <a16:creationId xmlns:a16="http://schemas.microsoft.com/office/drawing/2014/main" id="{85C88FB5-3D26-7FAA-9E99-8847D221A82C}"/>
              </a:ext>
            </a:extLst>
          </p:cNvPr>
          <p:cNvPicPr>
            <a:picLocks noChangeAspect="1"/>
          </p:cNvPicPr>
          <p:nvPr/>
        </p:nvPicPr>
        <p:blipFill>
          <a:blip r:embed="rId3"/>
          <a:stretch>
            <a:fillRect/>
          </a:stretch>
        </p:blipFill>
        <p:spPr>
          <a:xfrm>
            <a:off x="5744725" y="1041434"/>
            <a:ext cx="3039275" cy="1920402"/>
          </a:xfrm>
          <a:prstGeom prst="rect">
            <a:avLst/>
          </a:prstGeom>
        </p:spPr>
      </p:pic>
    </p:spTree>
    <p:custDataLst>
      <p:tags r:id="rId1"/>
    </p:custDataLst>
    <p:extLst>
      <p:ext uri="{BB962C8B-B14F-4D97-AF65-F5344CB8AC3E}">
        <p14:creationId xmlns:p14="http://schemas.microsoft.com/office/powerpoint/2010/main" val="2717103818"/>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GitHub Desktop</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p:txBody>
          <a:bodyPr/>
          <a:lstStyle/>
          <a:p>
            <a:r>
              <a:rPr lang="en-US" sz="1600" b="0" dirty="0">
                <a:solidFill>
                  <a:srgbClr val="333333"/>
                </a:solidFill>
              </a:rPr>
              <a:t>Download from </a:t>
            </a:r>
            <a:r>
              <a:rPr lang="en-US" sz="1600" b="0" dirty="0">
                <a:solidFill>
                  <a:srgbClr val="333333"/>
                </a:solidFill>
                <a:hlinkClick r:id="rId3">
                  <a:extLst>
                    <a:ext uri="{A12FA001-AC4F-418D-AE19-62706E023703}">
                      <ahyp:hlinkClr xmlns:ahyp="http://schemas.microsoft.com/office/drawing/2018/hyperlinkcolor" val="tx"/>
                    </a:ext>
                  </a:extLst>
                </a:hlinkClick>
              </a:rPr>
              <a:t>https://desktop.github.com/</a:t>
            </a:r>
            <a:r>
              <a:rPr lang="en-US" sz="1600" b="0" dirty="0">
                <a:solidFill>
                  <a:srgbClr val="333333"/>
                </a:solidFill>
              </a:rPr>
              <a:t> and install it.</a:t>
            </a:r>
          </a:p>
          <a:p>
            <a:endParaRPr lang="en-US" sz="1600" b="0" dirty="0"/>
          </a:p>
        </p:txBody>
      </p:sp>
      <p:pic>
        <p:nvPicPr>
          <p:cNvPr id="3" name="Picture 2">
            <a:extLst>
              <a:ext uri="{FF2B5EF4-FFF2-40B4-BE49-F238E27FC236}">
                <a16:creationId xmlns:a16="http://schemas.microsoft.com/office/drawing/2014/main" id="{61AC65DC-72A1-ABAC-92A8-E2D932C2B9E3}"/>
              </a:ext>
            </a:extLst>
          </p:cNvPr>
          <p:cNvPicPr>
            <a:picLocks noChangeAspect="1"/>
          </p:cNvPicPr>
          <p:nvPr/>
        </p:nvPicPr>
        <p:blipFill rotWithShape="1">
          <a:blip r:embed="rId4"/>
          <a:srcRect t="14095" r="2" b="2"/>
          <a:stretch/>
        </p:blipFill>
        <p:spPr>
          <a:xfrm>
            <a:off x="1516969" y="1654897"/>
            <a:ext cx="6110062" cy="2585051"/>
          </a:xfrm>
          <a:custGeom>
            <a:avLst/>
            <a:gdLst/>
            <a:ahLst/>
            <a:cxnLst/>
            <a:rect l="l" t="t" r="r" b="b"/>
            <a:pathLst>
              <a:path w="8903441" h="3766876">
                <a:moveTo>
                  <a:pt x="8890380" y="1667288"/>
                </a:moveTo>
                <a:lnTo>
                  <a:pt x="8895460" y="1677046"/>
                </a:lnTo>
                <a:cubicBezTo>
                  <a:pt x="8905866" y="1703466"/>
                  <a:pt x="8906717" y="1724063"/>
                  <a:pt x="8894323" y="1729738"/>
                </a:cubicBezTo>
                <a:lnTo>
                  <a:pt x="8891365" y="1729349"/>
                </a:lnTo>
                <a:lnTo>
                  <a:pt x="8891421" y="1712412"/>
                </a:lnTo>
                <a:cubicBezTo>
                  <a:pt x="8891337" y="1700170"/>
                  <a:pt x="8891138" y="1688653"/>
                  <a:pt x="8890856" y="1678595"/>
                </a:cubicBezTo>
                <a:close/>
                <a:moveTo>
                  <a:pt x="8888451" y="1641624"/>
                </a:moveTo>
                <a:cubicBezTo>
                  <a:pt x="8888927" y="1642911"/>
                  <a:pt x="8889388" y="1647125"/>
                  <a:pt x="8889800" y="1653531"/>
                </a:cubicBezTo>
                <a:lnTo>
                  <a:pt x="8890380" y="1667288"/>
                </a:lnTo>
                <a:lnTo>
                  <a:pt x="8884645" y="1656272"/>
                </a:lnTo>
                <a:lnTo>
                  <a:pt x="8886368" y="1643902"/>
                </a:lnTo>
                <a:cubicBezTo>
                  <a:pt x="8887058" y="1640758"/>
                  <a:pt x="8887743" y="1639762"/>
                  <a:pt x="8888451" y="1641624"/>
                </a:cubicBezTo>
                <a:close/>
                <a:moveTo>
                  <a:pt x="999724" y="1241031"/>
                </a:moveTo>
                <a:cubicBezTo>
                  <a:pt x="998379" y="1242269"/>
                  <a:pt x="996554" y="1243547"/>
                  <a:pt x="995210" y="1244785"/>
                </a:cubicBezTo>
                <a:cubicBezTo>
                  <a:pt x="1005261" y="1248940"/>
                  <a:pt x="1015746" y="1252497"/>
                  <a:pt x="1025774" y="1256374"/>
                </a:cubicBezTo>
                <a:cubicBezTo>
                  <a:pt x="1037480" y="1257305"/>
                  <a:pt x="1049668" y="1258195"/>
                  <a:pt x="1060894" y="1259168"/>
                </a:cubicBezTo>
                <a:cubicBezTo>
                  <a:pt x="1040504" y="1253123"/>
                  <a:pt x="1020115" y="1247076"/>
                  <a:pt x="999724" y="1241031"/>
                </a:cubicBezTo>
                <a:close/>
                <a:moveTo>
                  <a:pt x="1319296" y="820371"/>
                </a:moveTo>
                <a:cubicBezTo>
                  <a:pt x="1421680" y="872109"/>
                  <a:pt x="1548101" y="905226"/>
                  <a:pt x="1681342" y="933268"/>
                </a:cubicBezTo>
                <a:cubicBezTo>
                  <a:pt x="1683167" y="931988"/>
                  <a:pt x="1684512" y="930751"/>
                  <a:pt x="1686338" y="929471"/>
                </a:cubicBezTo>
                <a:cubicBezTo>
                  <a:pt x="1563998" y="893197"/>
                  <a:pt x="1441635" y="856646"/>
                  <a:pt x="1319296" y="820371"/>
                </a:cubicBezTo>
                <a:close/>
                <a:moveTo>
                  <a:pt x="7894848" y="858"/>
                </a:moveTo>
                <a:cubicBezTo>
                  <a:pt x="7906700" y="3455"/>
                  <a:pt x="7910528" y="8436"/>
                  <a:pt x="7907341" y="16271"/>
                </a:cubicBezTo>
                <a:cubicBezTo>
                  <a:pt x="7902882" y="26177"/>
                  <a:pt x="7893520" y="35394"/>
                  <a:pt x="7882642" y="43904"/>
                </a:cubicBezTo>
                <a:cubicBezTo>
                  <a:pt x="7831903" y="83897"/>
                  <a:pt x="7856047" y="94090"/>
                  <a:pt x="7927648" y="93123"/>
                </a:cubicBezTo>
                <a:cubicBezTo>
                  <a:pt x="7991511" y="92274"/>
                  <a:pt x="8055318" y="85274"/>
                  <a:pt x="8119655" y="78787"/>
                </a:cubicBezTo>
                <a:cubicBezTo>
                  <a:pt x="8151329" y="75447"/>
                  <a:pt x="8152942" y="77265"/>
                  <a:pt x="8141786" y="93635"/>
                </a:cubicBezTo>
                <a:cubicBezTo>
                  <a:pt x="8123815" y="120677"/>
                  <a:pt x="8122595" y="145410"/>
                  <a:pt x="8151055" y="166138"/>
                </a:cubicBezTo>
                <a:cubicBezTo>
                  <a:pt x="8157767" y="170866"/>
                  <a:pt x="8162605" y="176318"/>
                  <a:pt x="8160811" y="183471"/>
                </a:cubicBezTo>
                <a:cubicBezTo>
                  <a:pt x="8152723" y="212724"/>
                  <a:pt x="8169841" y="236686"/>
                  <a:pt x="8187466" y="260884"/>
                </a:cubicBezTo>
                <a:cubicBezTo>
                  <a:pt x="8217175" y="301371"/>
                  <a:pt x="8254836" y="338641"/>
                  <a:pt x="8295790" y="374783"/>
                </a:cubicBezTo>
                <a:cubicBezTo>
                  <a:pt x="8324664" y="400232"/>
                  <a:pt x="8342922" y="431650"/>
                  <a:pt x="8406170" y="440370"/>
                </a:cubicBezTo>
                <a:cubicBezTo>
                  <a:pt x="8421364" y="442394"/>
                  <a:pt x="8426373" y="449790"/>
                  <a:pt x="8420903" y="459225"/>
                </a:cubicBezTo>
                <a:cubicBezTo>
                  <a:pt x="8402820" y="490474"/>
                  <a:pt x="8417534" y="514648"/>
                  <a:pt x="8450800" y="534955"/>
                </a:cubicBezTo>
                <a:cubicBezTo>
                  <a:pt x="8462563" y="542037"/>
                  <a:pt x="8458146" y="546902"/>
                  <a:pt x="8442097" y="551669"/>
                </a:cubicBezTo>
                <a:cubicBezTo>
                  <a:pt x="8423667" y="556925"/>
                  <a:pt x="8409328" y="564619"/>
                  <a:pt x="8398067" y="574282"/>
                </a:cubicBezTo>
                <a:cubicBezTo>
                  <a:pt x="8379577" y="589897"/>
                  <a:pt x="8370872" y="606612"/>
                  <a:pt x="8363634" y="623477"/>
                </a:cubicBezTo>
                <a:cubicBezTo>
                  <a:pt x="8352394" y="649929"/>
                  <a:pt x="8339133" y="675439"/>
                  <a:pt x="8295388" y="695789"/>
                </a:cubicBezTo>
                <a:cubicBezTo>
                  <a:pt x="8282368" y="701969"/>
                  <a:pt x="8271923" y="709882"/>
                  <a:pt x="8260972" y="717559"/>
                </a:cubicBezTo>
                <a:cubicBezTo>
                  <a:pt x="8264466" y="724248"/>
                  <a:pt x="8273101" y="728807"/>
                  <a:pt x="8289132" y="729358"/>
                </a:cubicBezTo>
                <a:cubicBezTo>
                  <a:pt x="8391169" y="732995"/>
                  <a:pt x="8386647" y="769770"/>
                  <a:pt x="8387346" y="810845"/>
                </a:cubicBezTo>
                <a:cubicBezTo>
                  <a:pt x="8388418" y="861681"/>
                  <a:pt x="8330862" y="890238"/>
                  <a:pt x="8259532" y="916368"/>
                </a:cubicBezTo>
                <a:cubicBezTo>
                  <a:pt x="8235122" y="925226"/>
                  <a:pt x="8199529" y="928071"/>
                  <a:pt x="8191769" y="950020"/>
                </a:cubicBezTo>
                <a:cubicBezTo>
                  <a:pt x="8234379" y="966427"/>
                  <a:pt x="8282955" y="945934"/>
                  <a:pt x="8327664" y="947606"/>
                </a:cubicBezTo>
                <a:cubicBezTo>
                  <a:pt x="8364609" y="949119"/>
                  <a:pt x="8424473" y="941347"/>
                  <a:pt x="8378206" y="982626"/>
                </a:cubicBezTo>
                <a:cubicBezTo>
                  <a:pt x="8364736" y="994722"/>
                  <a:pt x="8382242" y="1001021"/>
                  <a:pt x="8400605" y="1000529"/>
                </a:cubicBezTo>
                <a:cubicBezTo>
                  <a:pt x="8549357" y="995586"/>
                  <a:pt x="8487684" y="1076555"/>
                  <a:pt x="8538706" y="1111533"/>
                </a:cubicBezTo>
                <a:cubicBezTo>
                  <a:pt x="8553092" y="1120905"/>
                  <a:pt x="8540810" y="1141011"/>
                  <a:pt x="8520556" y="1147547"/>
                </a:cubicBezTo>
                <a:cubicBezTo>
                  <a:pt x="8392015" y="1189611"/>
                  <a:pt x="8380569" y="1263373"/>
                  <a:pt x="8322605" y="1331423"/>
                </a:cubicBezTo>
                <a:cubicBezTo>
                  <a:pt x="8393509" y="1350105"/>
                  <a:pt x="8476647" y="1348124"/>
                  <a:pt x="8552563" y="1357692"/>
                </a:cubicBezTo>
                <a:cubicBezTo>
                  <a:pt x="8631413" y="1367560"/>
                  <a:pt x="8632510" y="1380057"/>
                  <a:pt x="8572872" y="1434543"/>
                </a:cubicBezTo>
                <a:cubicBezTo>
                  <a:pt x="8740108" y="1430496"/>
                  <a:pt x="8740108" y="1430496"/>
                  <a:pt x="8695911" y="1511890"/>
                </a:cubicBezTo>
                <a:cubicBezTo>
                  <a:pt x="8766152" y="1509223"/>
                  <a:pt x="8835070" y="1574251"/>
                  <a:pt x="8873147" y="1634187"/>
                </a:cubicBezTo>
                <a:lnTo>
                  <a:pt x="8884645" y="1656272"/>
                </a:lnTo>
                <a:lnTo>
                  <a:pt x="8884254" y="1659075"/>
                </a:lnTo>
                <a:cubicBezTo>
                  <a:pt x="8882795" y="1672543"/>
                  <a:pt x="8881198" y="1691773"/>
                  <a:pt x="8879232" y="1711097"/>
                </a:cubicBezTo>
                <a:lnTo>
                  <a:pt x="8877347" y="1727504"/>
                </a:lnTo>
                <a:lnTo>
                  <a:pt x="8865337" y="1725923"/>
                </a:lnTo>
                <a:cubicBezTo>
                  <a:pt x="8855639" y="1721668"/>
                  <a:pt x="8848716" y="1720054"/>
                  <a:pt x="8843722" y="1720152"/>
                </a:cubicBezTo>
                <a:cubicBezTo>
                  <a:pt x="8828739" y="1720444"/>
                  <a:pt x="8831115" y="1736133"/>
                  <a:pt x="8828004" y="1742073"/>
                </a:cubicBezTo>
                <a:cubicBezTo>
                  <a:pt x="8817547" y="1760900"/>
                  <a:pt x="8843589" y="1770647"/>
                  <a:pt x="8861127" y="1782820"/>
                </a:cubicBezTo>
                <a:cubicBezTo>
                  <a:pt x="8867694" y="1787281"/>
                  <a:pt x="8872382" y="1766445"/>
                  <a:pt x="8875975" y="1739445"/>
                </a:cubicBezTo>
                <a:lnTo>
                  <a:pt x="8877347" y="1727504"/>
                </a:lnTo>
                <a:lnTo>
                  <a:pt x="8891365" y="1729349"/>
                </a:lnTo>
                <a:lnTo>
                  <a:pt x="8891294" y="1750579"/>
                </a:lnTo>
                <a:cubicBezTo>
                  <a:pt x="8890576" y="1802412"/>
                  <a:pt x="8887485" y="1854103"/>
                  <a:pt x="8879895" y="1858687"/>
                </a:cubicBezTo>
                <a:cubicBezTo>
                  <a:pt x="8799411" y="1907447"/>
                  <a:pt x="8858072" y="1996322"/>
                  <a:pt x="8700018" y="2022228"/>
                </a:cubicBezTo>
                <a:cubicBezTo>
                  <a:pt x="8628887" y="2034069"/>
                  <a:pt x="8597252" y="2070985"/>
                  <a:pt x="8546517" y="2094468"/>
                </a:cubicBezTo>
                <a:cubicBezTo>
                  <a:pt x="8369592" y="2175758"/>
                  <a:pt x="8254890" y="2270617"/>
                  <a:pt x="8208310" y="2391116"/>
                </a:cubicBezTo>
                <a:cubicBezTo>
                  <a:pt x="8195251" y="2424444"/>
                  <a:pt x="8137916" y="2455501"/>
                  <a:pt x="8101924" y="2486924"/>
                </a:cubicBezTo>
                <a:cubicBezTo>
                  <a:pt x="8122498" y="2506105"/>
                  <a:pt x="8219539" y="2452814"/>
                  <a:pt x="8188722" y="2510086"/>
                </a:cubicBezTo>
                <a:cubicBezTo>
                  <a:pt x="8165388" y="2553270"/>
                  <a:pt x="8098391" y="2584616"/>
                  <a:pt x="8035596" y="2614194"/>
                </a:cubicBezTo>
                <a:cubicBezTo>
                  <a:pt x="7963481" y="2647947"/>
                  <a:pt x="7883214" y="2677100"/>
                  <a:pt x="7854509" y="2730830"/>
                </a:cubicBezTo>
                <a:cubicBezTo>
                  <a:pt x="7848249" y="2742293"/>
                  <a:pt x="6341566" y="3671513"/>
                  <a:pt x="4141410" y="3763614"/>
                </a:cubicBezTo>
                <a:cubicBezTo>
                  <a:pt x="3781875" y="3778662"/>
                  <a:pt x="2353277" y="3737838"/>
                  <a:pt x="2161737" y="3718831"/>
                </a:cubicBezTo>
                <a:cubicBezTo>
                  <a:pt x="1964811" y="3699179"/>
                  <a:pt x="1793107" y="3646810"/>
                  <a:pt x="1591600" y="3635674"/>
                </a:cubicBezTo>
                <a:cubicBezTo>
                  <a:pt x="1485018" y="3629919"/>
                  <a:pt x="1381185" y="3611329"/>
                  <a:pt x="1390654" y="3531585"/>
                </a:cubicBezTo>
                <a:cubicBezTo>
                  <a:pt x="1393510" y="3508948"/>
                  <a:pt x="1364047" y="3493344"/>
                  <a:pt x="1320867" y="3503571"/>
                </a:cubicBezTo>
                <a:cubicBezTo>
                  <a:pt x="1239265" y="3523046"/>
                  <a:pt x="1198946" y="3494124"/>
                  <a:pt x="1150681" y="3474015"/>
                </a:cubicBezTo>
                <a:cubicBezTo>
                  <a:pt x="1065213" y="3438422"/>
                  <a:pt x="982868" y="3399757"/>
                  <a:pt x="851974" y="3403971"/>
                </a:cubicBezTo>
                <a:cubicBezTo>
                  <a:pt x="873994" y="3367898"/>
                  <a:pt x="917237" y="3369420"/>
                  <a:pt x="956780" y="3372944"/>
                </a:cubicBezTo>
                <a:cubicBezTo>
                  <a:pt x="1061276" y="3382521"/>
                  <a:pt x="1164043" y="3394488"/>
                  <a:pt x="1268515" y="3403788"/>
                </a:cubicBezTo>
                <a:cubicBezTo>
                  <a:pt x="1336376" y="3409863"/>
                  <a:pt x="1404651" y="3420660"/>
                  <a:pt x="1492884" y="3399484"/>
                </a:cubicBezTo>
                <a:cubicBezTo>
                  <a:pt x="1410006" y="3338199"/>
                  <a:pt x="1277736" y="3337777"/>
                  <a:pt x="1169657" y="3325996"/>
                </a:cubicBezTo>
                <a:cubicBezTo>
                  <a:pt x="1034677" y="3311259"/>
                  <a:pt x="951965" y="3268429"/>
                  <a:pt x="853866" y="3221353"/>
                </a:cubicBezTo>
                <a:cubicBezTo>
                  <a:pt x="950752" y="3199416"/>
                  <a:pt x="1014418" y="3234964"/>
                  <a:pt x="1090648" y="3226034"/>
                </a:cubicBezTo>
                <a:cubicBezTo>
                  <a:pt x="1094340" y="3218434"/>
                  <a:pt x="1100169" y="3207568"/>
                  <a:pt x="1099183" y="3207375"/>
                </a:cubicBezTo>
                <a:cubicBezTo>
                  <a:pt x="971072" y="3188118"/>
                  <a:pt x="907890" y="3136018"/>
                  <a:pt x="882137" y="3068880"/>
                </a:cubicBezTo>
                <a:cubicBezTo>
                  <a:pt x="868924" y="3034221"/>
                  <a:pt x="822286" y="3027121"/>
                  <a:pt x="776145" y="3014660"/>
                </a:cubicBezTo>
                <a:cubicBezTo>
                  <a:pt x="613874" y="2970419"/>
                  <a:pt x="443486" y="2933046"/>
                  <a:pt x="307191" y="2864697"/>
                </a:cubicBezTo>
                <a:cubicBezTo>
                  <a:pt x="457123" y="2862170"/>
                  <a:pt x="581367" y="2903594"/>
                  <a:pt x="743379" y="2911759"/>
                </a:cubicBezTo>
                <a:cubicBezTo>
                  <a:pt x="608349" y="2835743"/>
                  <a:pt x="439124" y="2806104"/>
                  <a:pt x="284020" y="2766269"/>
                </a:cubicBezTo>
                <a:cubicBezTo>
                  <a:pt x="213164" y="2748143"/>
                  <a:pt x="147010" y="2722889"/>
                  <a:pt x="63190" y="2717094"/>
                </a:cubicBezTo>
                <a:cubicBezTo>
                  <a:pt x="33455" y="2714947"/>
                  <a:pt x="-16425" y="2709531"/>
                  <a:pt x="5340" y="2681595"/>
                </a:cubicBezTo>
                <a:cubicBezTo>
                  <a:pt x="23652" y="2658441"/>
                  <a:pt x="63627" y="2661368"/>
                  <a:pt x="100237" y="2664591"/>
                </a:cubicBezTo>
                <a:cubicBezTo>
                  <a:pt x="188123" y="2672547"/>
                  <a:pt x="277551" y="2664977"/>
                  <a:pt x="394328" y="2654447"/>
                </a:cubicBezTo>
                <a:cubicBezTo>
                  <a:pt x="290057" y="2592242"/>
                  <a:pt x="112140" y="2629127"/>
                  <a:pt x="21491" y="2562088"/>
                </a:cubicBezTo>
                <a:cubicBezTo>
                  <a:pt x="125636" y="2540073"/>
                  <a:pt x="208727" y="2559644"/>
                  <a:pt x="294268" y="2557453"/>
                </a:cubicBezTo>
                <a:cubicBezTo>
                  <a:pt x="371589" y="2555423"/>
                  <a:pt x="389695" y="2540961"/>
                  <a:pt x="367847" y="2501743"/>
                </a:cubicBezTo>
                <a:cubicBezTo>
                  <a:pt x="333905" y="2440640"/>
                  <a:pt x="373328" y="2404160"/>
                  <a:pt x="486858" y="2411824"/>
                </a:cubicBezTo>
                <a:cubicBezTo>
                  <a:pt x="592120" y="2419095"/>
                  <a:pt x="600599" y="2394285"/>
                  <a:pt x="570008" y="2360312"/>
                </a:cubicBezTo>
                <a:cubicBezTo>
                  <a:pt x="525457" y="2310774"/>
                  <a:pt x="567057" y="2265987"/>
                  <a:pt x="594400" y="2218813"/>
                </a:cubicBezTo>
                <a:cubicBezTo>
                  <a:pt x="635581" y="2147198"/>
                  <a:pt x="612469" y="2115647"/>
                  <a:pt x="505675" y="2074370"/>
                </a:cubicBezTo>
                <a:cubicBezTo>
                  <a:pt x="445534" y="2051386"/>
                  <a:pt x="381431" y="2032947"/>
                  <a:pt x="295650" y="2015851"/>
                </a:cubicBezTo>
                <a:cubicBezTo>
                  <a:pt x="487251" y="1985881"/>
                  <a:pt x="281423" y="1958614"/>
                  <a:pt x="346760" y="1924896"/>
                </a:cubicBezTo>
                <a:cubicBezTo>
                  <a:pt x="481788" y="1901571"/>
                  <a:pt x="600623" y="1980687"/>
                  <a:pt x="783461" y="1939173"/>
                </a:cubicBezTo>
                <a:cubicBezTo>
                  <a:pt x="547912" y="1882335"/>
                  <a:pt x="287006" y="1807013"/>
                  <a:pt x="112183" y="1719100"/>
                </a:cubicBezTo>
                <a:cubicBezTo>
                  <a:pt x="148588" y="1692398"/>
                  <a:pt x="188462" y="1710725"/>
                  <a:pt x="219936" y="1699568"/>
                </a:cubicBezTo>
                <a:cubicBezTo>
                  <a:pt x="218006" y="1694140"/>
                  <a:pt x="220184" y="1685834"/>
                  <a:pt x="214196" y="1683841"/>
                </a:cubicBezTo>
                <a:cubicBezTo>
                  <a:pt x="85284" y="1638910"/>
                  <a:pt x="83720" y="1637648"/>
                  <a:pt x="212296" y="1584947"/>
                </a:cubicBezTo>
                <a:cubicBezTo>
                  <a:pt x="257172" y="1566456"/>
                  <a:pt x="252206" y="1554019"/>
                  <a:pt x="226108" y="1538121"/>
                </a:cubicBezTo>
                <a:cubicBezTo>
                  <a:pt x="207682" y="1526866"/>
                  <a:pt x="185078" y="1517656"/>
                  <a:pt x="192710" y="1488723"/>
                </a:cubicBezTo>
                <a:cubicBezTo>
                  <a:pt x="268435" y="1518175"/>
                  <a:pt x="624154" y="1547955"/>
                  <a:pt x="685843" y="1538903"/>
                </a:cubicBezTo>
                <a:cubicBezTo>
                  <a:pt x="755173" y="1528619"/>
                  <a:pt x="994201" y="1520231"/>
                  <a:pt x="1067153" y="1523622"/>
                </a:cubicBezTo>
                <a:cubicBezTo>
                  <a:pt x="1063138" y="1522015"/>
                  <a:pt x="1059122" y="1520410"/>
                  <a:pt x="1055106" y="1518803"/>
                </a:cubicBezTo>
                <a:cubicBezTo>
                  <a:pt x="983007" y="1486514"/>
                  <a:pt x="909946" y="1454310"/>
                  <a:pt x="864245" y="1408231"/>
                </a:cubicBezTo>
                <a:cubicBezTo>
                  <a:pt x="862153" y="1406456"/>
                  <a:pt x="861045" y="1404874"/>
                  <a:pt x="856768" y="1405809"/>
                </a:cubicBezTo>
                <a:cubicBezTo>
                  <a:pt x="819307" y="1414974"/>
                  <a:pt x="822846" y="1400112"/>
                  <a:pt x="821342" y="1388491"/>
                </a:cubicBezTo>
                <a:cubicBezTo>
                  <a:pt x="819813" y="1376592"/>
                  <a:pt x="812736" y="1367699"/>
                  <a:pt x="784954" y="1371257"/>
                </a:cubicBezTo>
                <a:cubicBezTo>
                  <a:pt x="783512" y="1371384"/>
                  <a:pt x="781566" y="1371274"/>
                  <a:pt x="779619" y="1371165"/>
                </a:cubicBezTo>
                <a:cubicBezTo>
                  <a:pt x="766469" y="1370361"/>
                  <a:pt x="722835" y="1342290"/>
                  <a:pt x="728571" y="1335910"/>
                </a:cubicBezTo>
                <a:cubicBezTo>
                  <a:pt x="741389" y="1321912"/>
                  <a:pt x="726409" y="1316791"/>
                  <a:pt x="713734" y="1310348"/>
                </a:cubicBezTo>
                <a:cubicBezTo>
                  <a:pt x="696009" y="1301550"/>
                  <a:pt x="678333" y="1293308"/>
                  <a:pt x="659695" y="1285149"/>
                </a:cubicBezTo>
                <a:cubicBezTo>
                  <a:pt x="641562" y="1277227"/>
                  <a:pt x="622997" y="1269901"/>
                  <a:pt x="604409" y="1262299"/>
                </a:cubicBezTo>
                <a:cubicBezTo>
                  <a:pt x="561305" y="1256847"/>
                  <a:pt x="517819" y="1252549"/>
                  <a:pt x="472556" y="1250086"/>
                </a:cubicBezTo>
                <a:cubicBezTo>
                  <a:pt x="438951" y="1247999"/>
                  <a:pt x="401379" y="1244860"/>
                  <a:pt x="382690" y="1214040"/>
                </a:cubicBezTo>
                <a:cubicBezTo>
                  <a:pt x="418096" y="1214570"/>
                  <a:pt x="453575" y="1215933"/>
                  <a:pt x="489053" y="1217296"/>
                </a:cubicBezTo>
                <a:cubicBezTo>
                  <a:pt x="454954" y="1204059"/>
                  <a:pt x="421816" y="1190737"/>
                  <a:pt x="390047" y="1176456"/>
                </a:cubicBezTo>
                <a:cubicBezTo>
                  <a:pt x="363810" y="1164487"/>
                  <a:pt x="342232" y="1150431"/>
                  <a:pt x="333292" y="1131347"/>
                </a:cubicBezTo>
                <a:cubicBezTo>
                  <a:pt x="330930" y="1126518"/>
                  <a:pt x="329025" y="1121368"/>
                  <a:pt x="337841" y="1116956"/>
                </a:cubicBezTo>
                <a:cubicBezTo>
                  <a:pt x="347569" y="1111905"/>
                  <a:pt x="355552" y="1114562"/>
                  <a:pt x="363031" y="1116984"/>
                </a:cubicBezTo>
                <a:cubicBezTo>
                  <a:pt x="393929" y="1126864"/>
                  <a:pt x="425283" y="1136425"/>
                  <a:pt x="455724" y="1146625"/>
                </a:cubicBezTo>
                <a:cubicBezTo>
                  <a:pt x="496146" y="1160147"/>
                  <a:pt x="536111" y="1173989"/>
                  <a:pt x="576050" y="1187553"/>
                </a:cubicBezTo>
                <a:cubicBezTo>
                  <a:pt x="519650" y="1157524"/>
                  <a:pt x="457798" y="1131612"/>
                  <a:pt x="391358" y="1108621"/>
                </a:cubicBezTo>
                <a:cubicBezTo>
                  <a:pt x="343386" y="1091844"/>
                  <a:pt x="295414" y="1075067"/>
                  <a:pt x="258466" y="1051446"/>
                </a:cubicBezTo>
                <a:cubicBezTo>
                  <a:pt x="239512" y="1039678"/>
                  <a:pt x="230024" y="1025400"/>
                  <a:pt x="227119" y="1008864"/>
                </a:cubicBezTo>
                <a:cubicBezTo>
                  <a:pt x="226729" y="1004421"/>
                  <a:pt x="227253" y="999338"/>
                  <a:pt x="237176" y="996508"/>
                </a:cubicBezTo>
                <a:cubicBezTo>
                  <a:pt x="247123" y="993956"/>
                  <a:pt x="253208" y="997060"/>
                  <a:pt x="257395" y="1000610"/>
                </a:cubicBezTo>
                <a:cubicBezTo>
                  <a:pt x="262111" y="1004674"/>
                  <a:pt x="267716" y="1007820"/>
                  <a:pt x="275649" y="1009921"/>
                </a:cubicBezTo>
                <a:cubicBezTo>
                  <a:pt x="345186" y="1029563"/>
                  <a:pt x="406508" y="1054962"/>
                  <a:pt x="469199" y="1079402"/>
                </a:cubicBezTo>
                <a:cubicBezTo>
                  <a:pt x="558968" y="1114336"/>
                  <a:pt x="647368" y="1150231"/>
                  <a:pt x="753033" y="1173138"/>
                </a:cubicBezTo>
                <a:cubicBezTo>
                  <a:pt x="793015" y="1181661"/>
                  <a:pt x="834292" y="1188391"/>
                  <a:pt x="865682" y="1187316"/>
                </a:cubicBezTo>
                <a:cubicBezTo>
                  <a:pt x="750261" y="1147076"/>
                  <a:pt x="641375" y="1104025"/>
                  <a:pt x="543487" y="1053852"/>
                </a:cubicBezTo>
                <a:cubicBezTo>
                  <a:pt x="444589" y="1003208"/>
                  <a:pt x="357848" y="947579"/>
                  <a:pt x="295297" y="880592"/>
                </a:cubicBezTo>
                <a:cubicBezTo>
                  <a:pt x="288871" y="873601"/>
                  <a:pt x="284873" y="866676"/>
                  <a:pt x="264758" y="869281"/>
                </a:cubicBezTo>
                <a:cubicBezTo>
                  <a:pt x="255650" y="870360"/>
                  <a:pt x="252375" y="866170"/>
                  <a:pt x="254388" y="861516"/>
                </a:cubicBezTo>
                <a:cubicBezTo>
                  <a:pt x="266992" y="828509"/>
                  <a:pt x="236853" y="810726"/>
                  <a:pt x="190786" y="799099"/>
                </a:cubicBezTo>
                <a:cubicBezTo>
                  <a:pt x="176408" y="795324"/>
                  <a:pt x="175031" y="790688"/>
                  <a:pt x="184973" y="782539"/>
                </a:cubicBezTo>
                <a:cubicBezTo>
                  <a:pt x="198516" y="771277"/>
                  <a:pt x="196123" y="760574"/>
                  <a:pt x="187530" y="750974"/>
                </a:cubicBezTo>
                <a:cubicBezTo>
                  <a:pt x="182644" y="744967"/>
                  <a:pt x="176339" y="739364"/>
                  <a:pt x="170996" y="733676"/>
                </a:cubicBezTo>
                <a:cubicBezTo>
                  <a:pt x="167290" y="730083"/>
                  <a:pt x="161157" y="726424"/>
                  <a:pt x="169444" y="721499"/>
                </a:cubicBezTo>
                <a:cubicBezTo>
                  <a:pt x="177298" y="717172"/>
                  <a:pt x="185665" y="718676"/>
                  <a:pt x="193501" y="719668"/>
                </a:cubicBezTo>
                <a:cubicBezTo>
                  <a:pt x="231170" y="723917"/>
                  <a:pt x="254043" y="736181"/>
                  <a:pt x="265436" y="755609"/>
                </a:cubicBezTo>
                <a:cubicBezTo>
                  <a:pt x="273963" y="769971"/>
                  <a:pt x="281726" y="770130"/>
                  <a:pt x="302333" y="756567"/>
                </a:cubicBezTo>
                <a:cubicBezTo>
                  <a:pt x="317894" y="746247"/>
                  <a:pt x="332387" y="745814"/>
                  <a:pt x="346481" y="751853"/>
                </a:cubicBezTo>
                <a:cubicBezTo>
                  <a:pt x="354007" y="754830"/>
                  <a:pt x="358771" y="759448"/>
                  <a:pt x="364449" y="763428"/>
                </a:cubicBezTo>
                <a:cubicBezTo>
                  <a:pt x="392910" y="784156"/>
                  <a:pt x="422762" y="804202"/>
                  <a:pt x="467363" y="815678"/>
                </a:cubicBezTo>
                <a:cubicBezTo>
                  <a:pt x="487199" y="820933"/>
                  <a:pt x="508355" y="824672"/>
                  <a:pt x="537693" y="816781"/>
                </a:cubicBezTo>
                <a:cubicBezTo>
                  <a:pt x="518386" y="812039"/>
                  <a:pt x="499567" y="812852"/>
                  <a:pt x="482019" y="811593"/>
                </a:cubicBezTo>
                <a:cubicBezTo>
                  <a:pt x="464472" y="810335"/>
                  <a:pt x="454949" y="806693"/>
                  <a:pt x="467050" y="795557"/>
                </a:cubicBezTo>
                <a:cubicBezTo>
                  <a:pt x="473772" y="789371"/>
                  <a:pt x="472878" y="784693"/>
                  <a:pt x="465734" y="780562"/>
                </a:cubicBezTo>
                <a:cubicBezTo>
                  <a:pt x="442763" y="767188"/>
                  <a:pt x="430336" y="747011"/>
                  <a:pt x="384526" y="749353"/>
                </a:cubicBezTo>
                <a:cubicBezTo>
                  <a:pt x="382123" y="749564"/>
                  <a:pt x="379622" y="748664"/>
                  <a:pt x="377146" y="748041"/>
                </a:cubicBezTo>
                <a:cubicBezTo>
                  <a:pt x="367744" y="745789"/>
                  <a:pt x="357358" y="743342"/>
                  <a:pt x="360089" y="735827"/>
                </a:cubicBezTo>
                <a:cubicBezTo>
                  <a:pt x="363301" y="728269"/>
                  <a:pt x="375652" y="725506"/>
                  <a:pt x="386634" y="723703"/>
                </a:cubicBezTo>
                <a:cubicBezTo>
                  <a:pt x="414823" y="719269"/>
                  <a:pt x="437543" y="724271"/>
                  <a:pt x="459375" y="730191"/>
                </a:cubicBezTo>
                <a:cubicBezTo>
                  <a:pt x="512487" y="744837"/>
                  <a:pt x="556932" y="765561"/>
                  <a:pt x="603200" y="785006"/>
                </a:cubicBezTo>
                <a:cubicBezTo>
                  <a:pt x="672604" y="814173"/>
                  <a:pt x="734250" y="848778"/>
                  <a:pt x="810521" y="873425"/>
                </a:cubicBezTo>
                <a:cubicBezTo>
                  <a:pt x="1037317" y="946423"/>
                  <a:pt x="1260943" y="1021938"/>
                  <a:pt x="1494102" y="1090180"/>
                </a:cubicBezTo>
                <a:cubicBezTo>
                  <a:pt x="1580109" y="1115371"/>
                  <a:pt x="1667892" y="1138728"/>
                  <a:pt x="1756565" y="1161167"/>
                </a:cubicBezTo>
                <a:cubicBezTo>
                  <a:pt x="1756899" y="1159458"/>
                  <a:pt x="1757282" y="1158305"/>
                  <a:pt x="1757592" y="1156319"/>
                </a:cubicBezTo>
                <a:cubicBezTo>
                  <a:pt x="1757470" y="1154931"/>
                  <a:pt x="1757324" y="1153264"/>
                  <a:pt x="1757202" y="1151876"/>
                </a:cubicBezTo>
                <a:cubicBezTo>
                  <a:pt x="1694452" y="1137796"/>
                  <a:pt x="1632540" y="1122242"/>
                  <a:pt x="1572453" y="1105409"/>
                </a:cubicBezTo>
                <a:cubicBezTo>
                  <a:pt x="1424942" y="1063789"/>
                  <a:pt x="1288864" y="1014450"/>
                  <a:pt x="1171972" y="951953"/>
                </a:cubicBezTo>
                <a:cubicBezTo>
                  <a:pt x="1162328" y="946924"/>
                  <a:pt x="1152112" y="946421"/>
                  <a:pt x="1137334" y="949118"/>
                </a:cubicBezTo>
                <a:cubicBezTo>
                  <a:pt x="1089682" y="958058"/>
                  <a:pt x="1074050" y="951035"/>
                  <a:pt x="1081493" y="925476"/>
                </a:cubicBezTo>
                <a:cubicBezTo>
                  <a:pt x="1083360" y="919155"/>
                  <a:pt x="1083403" y="914115"/>
                  <a:pt x="1074768" y="909555"/>
                </a:cubicBezTo>
                <a:cubicBezTo>
                  <a:pt x="1036165" y="889158"/>
                  <a:pt x="995714" y="869763"/>
                  <a:pt x="952019" y="852050"/>
                </a:cubicBezTo>
                <a:cubicBezTo>
                  <a:pt x="871170" y="819410"/>
                  <a:pt x="784821" y="790332"/>
                  <a:pt x="709017" y="754450"/>
                </a:cubicBezTo>
                <a:cubicBezTo>
                  <a:pt x="686747" y="743533"/>
                  <a:pt x="669617" y="730485"/>
                  <a:pt x="659046" y="714902"/>
                </a:cubicBezTo>
                <a:cubicBezTo>
                  <a:pt x="655674" y="709602"/>
                  <a:pt x="653624" y="702786"/>
                  <a:pt x="664793" y="697608"/>
                </a:cubicBezTo>
                <a:cubicBezTo>
                  <a:pt x="675483" y="692472"/>
                  <a:pt x="684069" y="696476"/>
                  <a:pt x="692052" y="699133"/>
                </a:cubicBezTo>
                <a:cubicBezTo>
                  <a:pt x="725451" y="709913"/>
                  <a:pt x="759355" y="720929"/>
                  <a:pt x="792779" y="731987"/>
                </a:cubicBezTo>
                <a:cubicBezTo>
                  <a:pt x="826682" y="743003"/>
                  <a:pt x="860155" y="754616"/>
                  <a:pt x="895574" y="766338"/>
                </a:cubicBezTo>
                <a:cubicBezTo>
                  <a:pt x="897416" y="759741"/>
                  <a:pt x="890085" y="758985"/>
                  <a:pt x="886044" y="757101"/>
                </a:cubicBezTo>
                <a:cubicBezTo>
                  <a:pt x="828975" y="730489"/>
                  <a:pt x="766861" y="707118"/>
                  <a:pt x="702924" y="685027"/>
                </a:cubicBezTo>
                <a:cubicBezTo>
                  <a:pt x="653460" y="667821"/>
                  <a:pt x="605342" y="649378"/>
                  <a:pt x="571540" y="622962"/>
                </a:cubicBezTo>
                <a:cubicBezTo>
                  <a:pt x="558524" y="612632"/>
                  <a:pt x="551227" y="601239"/>
                  <a:pt x="552940" y="587657"/>
                </a:cubicBezTo>
                <a:cubicBezTo>
                  <a:pt x="553537" y="583407"/>
                  <a:pt x="554132" y="579157"/>
                  <a:pt x="563623" y="576925"/>
                </a:cubicBezTo>
                <a:cubicBezTo>
                  <a:pt x="571217" y="575139"/>
                  <a:pt x="576243" y="577216"/>
                  <a:pt x="580332" y="579656"/>
                </a:cubicBezTo>
                <a:cubicBezTo>
                  <a:pt x="587500" y="584063"/>
                  <a:pt x="594668" y="588471"/>
                  <a:pt x="604623" y="591516"/>
                </a:cubicBezTo>
                <a:cubicBezTo>
                  <a:pt x="664350" y="609779"/>
                  <a:pt x="720426" y="630601"/>
                  <a:pt x="775136" y="652383"/>
                </a:cubicBezTo>
                <a:cubicBezTo>
                  <a:pt x="864952" y="687874"/>
                  <a:pt x="953882" y="724283"/>
                  <a:pt x="1057795" y="749301"/>
                </a:cubicBezTo>
                <a:cubicBezTo>
                  <a:pt x="1096889" y="758742"/>
                  <a:pt x="1137304" y="766668"/>
                  <a:pt x="1183454" y="768213"/>
                </a:cubicBezTo>
                <a:cubicBezTo>
                  <a:pt x="1181768" y="765563"/>
                  <a:pt x="1178737" y="764150"/>
                  <a:pt x="1175732" y="763015"/>
                </a:cubicBezTo>
                <a:cubicBezTo>
                  <a:pt x="1075170" y="726508"/>
                  <a:pt x="977850" y="688319"/>
                  <a:pt x="888743" y="644370"/>
                </a:cubicBezTo>
                <a:cubicBezTo>
                  <a:pt x="778881" y="590211"/>
                  <a:pt x="683912" y="529148"/>
                  <a:pt x="615490" y="455960"/>
                </a:cubicBezTo>
                <a:cubicBezTo>
                  <a:pt x="612312" y="452882"/>
                  <a:pt x="610122" y="449996"/>
                  <a:pt x="602432" y="450671"/>
                </a:cubicBezTo>
                <a:cubicBezTo>
                  <a:pt x="582748" y="452678"/>
                  <a:pt x="580338" y="447293"/>
                  <a:pt x="582418" y="437876"/>
                </a:cubicBezTo>
                <a:cubicBezTo>
                  <a:pt x="588134" y="414707"/>
                  <a:pt x="573498" y="396964"/>
                  <a:pt x="539211" y="387101"/>
                </a:cubicBezTo>
                <a:cubicBezTo>
                  <a:pt x="514350" y="379769"/>
                  <a:pt x="493430" y="373210"/>
                  <a:pt x="519748" y="352990"/>
                </a:cubicBezTo>
                <a:cubicBezTo>
                  <a:pt x="526113" y="348234"/>
                  <a:pt x="523173" y="342336"/>
                  <a:pt x="520282" y="336993"/>
                </a:cubicBezTo>
                <a:cubicBezTo>
                  <a:pt x="516186" y="328957"/>
                  <a:pt x="507910" y="322968"/>
                  <a:pt x="498650" y="316785"/>
                </a:cubicBezTo>
                <a:cubicBezTo>
                  <a:pt x="493501" y="313319"/>
                  <a:pt x="487271" y="308549"/>
                  <a:pt x="493610" y="303515"/>
                </a:cubicBezTo>
                <a:cubicBezTo>
                  <a:pt x="500838" y="297564"/>
                  <a:pt x="511247" y="300288"/>
                  <a:pt x="519565" y="301237"/>
                </a:cubicBezTo>
                <a:cubicBezTo>
                  <a:pt x="557715" y="305444"/>
                  <a:pt x="581118" y="318221"/>
                  <a:pt x="592560" y="338204"/>
                </a:cubicBezTo>
                <a:cubicBezTo>
                  <a:pt x="599979" y="350985"/>
                  <a:pt x="609184" y="351016"/>
                  <a:pt x="627076" y="339652"/>
                </a:cubicBezTo>
                <a:cubicBezTo>
                  <a:pt x="647275" y="326965"/>
                  <a:pt x="664147" y="326044"/>
                  <a:pt x="679640" y="336997"/>
                </a:cubicBezTo>
                <a:cubicBezTo>
                  <a:pt x="692054" y="345981"/>
                  <a:pt x="702112" y="355732"/>
                  <a:pt x="716352" y="363437"/>
                </a:cubicBezTo>
                <a:cubicBezTo>
                  <a:pt x="754546" y="384710"/>
                  <a:pt x="790508" y="408138"/>
                  <a:pt x="869745" y="400343"/>
                </a:cubicBezTo>
                <a:cubicBezTo>
                  <a:pt x="847718" y="392203"/>
                  <a:pt x="825656" y="394699"/>
                  <a:pt x="806641" y="393290"/>
                </a:cubicBezTo>
                <a:cubicBezTo>
                  <a:pt x="792988" y="392249"/>
                  <a:pt x="779165" y="389265"/>
                  <a:pt x="791435" y="380072"/>
                </a:cubicBezTo>
                <a:cubicBezTo>
                  <a:pt x="805532" y="369601"/>
                  <a:pt x="796441" y="365362"/>
                  <a:pt x="787709" y="359692"/>
                </a:cubicBezTo>
                <a:cubicBezTo>
                  <a:pt x="767647" y="346342"/>
                  <a:pt x="751260" y="330710"/>
                  <a:pt x="711071" y="330880"/>
                </a:cubicBezTo>
                <a:cubicBezTo>
                  <a:pt x="704773" y="330873"/>
                  <a:pt x="699699" y="328240"/>
                  <a:pt x="694722" y="326718"/>
                </a:cubicBezTo>
                <a:cubicBezTo>
                  <a:pt x="687749" y="324532"/>
                  <a:pt x="681713" y="321984"/>
                  <a:pt x="684613" y="316412"/>
                </a:cubicBezTo>
                <a:cubicBezTo>
                  <a:pt x="687565" y="311396"/>
                  <a:pt x="694531" y="307986"/>
                  <a:pt x="703615" y="306629"/>
                </a:cubicBezTo>
                <a:cubicBezTo>
                  <a:pt x="711738" y="305356"/>
                  <a:pt x="720365" y="304319"/>
                  <a:pt x="728585" y="304157"/>
                </a:cubicBezTo>
                <a:cubicBezTo>
                  <a:pt x="765287" y="302895"/>
                  <a:pt x="791378" y="313197"/>
                  <a:pt x="817397" y="322666"/>
                </a:cubicBezTo>
                <a:cubicBezTo>
                  <a:pt x="908436" y="355531"/>
                  <a:pt x="989341" y="394323"/>
                  <a:pt x="1073943" y="431110"/>
                </a:cubicBezTo>
                <a:cubicBezTo>
                  <a:pt x="1158521" y="467620"/>
                  <a:pt x="1256741" y="493978"/>
                  <a:pt x="1349484" y="524175"/>
                </a:cubicBezTo>
                <a:cubicBezTo>
                  <a:pt x="1563417" y="594105"/>
                  <a:pt x="1778287" y="663672"/>
                  <a:pt x="2004921" y="723811"/>
                </a:cubicBezTo>
                <a:cubicBezTo>
                  <a:pt x="2226580" y="782429"/>
                  <a:pt x="2967159" y="809769"/>
                  <a:pt x="3111348" y="808027"/>
                </a:cubicBezTo>
                <a:cubicBezTo>
                  <a:pt x="3295676" y="805559"/>
                  <a:pt x="3730204" y="773014"/>
                  <a:pt x="4173417" y="745585"/>
                </a:cubicBezTo>
                <a:cubicBezTo>
                  <a:pt x="4223504" y="742307"/>
                  <a:pt x="4272653" y="739393"/>
                  <a:pt x="4324760" y="737057"/>
                </a:cubicBezTo>
                <a:cubicBezTo>
                  <a:pt x="5801059" y="670156"/>
                  <a:pt x="6841344" y="326433"/>
                  <a:pt x="6893789" y="305879"/>
                </a:cubicBezTo>
                <a:cubicBezTo>
                  <a:pt x="6978091" y="273014"/>
                  <a:pt x="7258655" y="208091"/>
                  <a:pt x="7259184" y="208604"/>
                </a:cubicBezTo>
                <a:cubicBezTo>
                  <a:pt x="7265440" y="213652"/>
                  <a:pt x="7297274" y="217644"/>
                  <a:pt x="7323059" y="220312"/>
                </a:cubicBezTo>
                <a:lnTo>
                  <a:pt x="7347572" y="222730"/>
                </a:lnTo>
                <a:lnTo>
                  <a:pt x="7350636" y="224083"/>
                </a:lnTo>
                <a:cubicBezTo>
                  <a:pt x="7359607" y="224205"/>
                  <a:pt x="7359159" y="223929"/>
                  <a:pt x="7353245" y="223290"/>
                </a:cubicBezTo>
                <a:lnTo>
                  <a:pt x="7347572" y="222730"/>
                </a:lnTo>
                <a:lnTo>
                  <a:pt x="7342573" y="220523"/>
                </a:lnTo>
                <a:cubicBezTo>
                  <a:pt x="7341302" y="218466"/>
                  <a:pt x="7341191" y="215818"/>
                  <a:pt x="7341465" y="213415"/>
                </a:cubicBezTo>
                <a:cubicBezTo>
                  <a:pt x="7342771" y="200707"/>
                  <a:pt x="7352468" y="189782"/>
                  <a:pt x="7375606" y="182994"/>
                </a:cubicBezTo>
                <a:cubicBezTo>
                  <a:pt x="7397808" y="176568"/>
                  <a:pt x="7420538" y="170655"/>
                  <a:pt x="7443270" y="164742"/>
                </a:cubicBezTo>
                <a:cubicBezTo>
                  <a:pt x="7462204" y="159722"/>
                  <a:pt x="7475181" y="158583"/>
                  <a:pt x="7478299" y="172021"/>
                </a:cubicBezTo>
                <a:cubicBezTo>
                  <a:pt x="7481416" y="185460"/>
                  <a:pt x="7508389" y="189249"/>
                  <a:pt x="7524024" y="179761"/>
                </a:cubicBezTo>
                <a:cubicBezTo>
                  <a:pt x="7585174" y="142492"/>
                  <a:pt x="7658615" y="112820"/>
                  <a:pt x="7727944" y="80430"/>
                </a:cubicBezTo>
                <a:cubicBezTo>
                  <a:pt x="7776349" y="57992"/>
                  <a:pt x="7827303" y="37009"/>
                  <a:pt x="7867024" y="9456"/>
                </a:cubicBezTo>
                <a:cubicBezTo>
                  <a:pt x="7874326" y="4338"/>
                  <a:pt x="7880999" y="-2404"/>
                  <a:pt x="7894848" y="858"/>
                </a:cubicBezTo>
                <a:close/>
              </a:path>
            </a:pathLst>
          </a:custGeom>
        </p:spPr>
      </p:pic>
    </p:spTree>
    <p:custDataLst>
      <p:tags r:id="rId1"/>
    </p:custDataLst>
    <p:extLst>
      <p:ext uri="{BB962C8B-B14F-4D97-AF65-F5344CB8AC3E}">
        <p14:creationId xmlns:p14="http://schemas.microsoft.com/office/powerpoint/2010/main" val="1135300390"/>
      </p:ext>
    </p:extLst>
  </p:cSld>
  <p:clrMapOvr>
    <a:masterClrMapping/>
  </p:clrMapOvr>
  <p:transition spd="slow">
    <p:push/>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About Git</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1928526"/>
          </a:xfrm>
        </p:spPr>
        <p:txBody>
          <a:bodyPr/>
          <a:lstStyle/>
          <a:p>
            <a:endParaRPr lang="en-US" sz="1600" b="0" dirty="0">
              <a:solidFill>
                <a:srgbClr val="333333"/>
              </a:solidFill>
            </a:endParaRPr>
          </a:p>
          <a:p>
            <a:endParaRPr lang="en-US" sz="1600" b="0" dirty="0">
              <a:solidFill>
                <a:srgbClr val="333333"/>
              </a:solidFill>
            </a:endParaRPr>
          </a:p>
          <a:p>
            <a:endParaRPr lang="en-US" sz="1600" b="0"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60000" y="1780098"/>
            <a:ext cx="7955280" cy="738664"/>
          </a:xfrm>
          <a:prstGeom prst="rect">
            <a:avLst/>
          </a:prstGeom>
          <a:noFill/>
        </p:spPr>
        <p:txBody>
          <a:bodyPr wrap="square">
            <a:spAutoFit/>
          </a:bodyPr>
          <a:lstStyle/>
          <a:p>
            <a:pPr marL="285750" indent="-28575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hlinkClick r:id="rId3"/>
              </a:rPr>
              <a:t>https://docs.github.com/en/get-started/using-git/about-git</a:t>
            </a:r>
            <a:endParaRPr lang="en-US" sz="1400" b="0" dirty="0">
              <a:solidFill>
                <a:schemeClr val="tx1"/>
              </a:solidFill>
              <a:latin typeface="Verdana" panose="020B0604030504040204" pitchFamily="34" charset="0"/>
              <a:ea typeface="Verdana" panose="020B0604030504040204" pitchFamily="34" charset="0"/>
            </a:endParaRPr>
          </a:p>
          <a:p>
            <a:pPr marL="285750" indent="-28575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hlinkClick r:id="rId4"/>
              </a:rPr>
              <a:t>https://www.w3schools.com/git/git_remote_getstarted.asp?remote=github</a:t>
            </a:r>
            <a:endParaRPr lang="en-US" sz="1400" dirty="0">
              <a:latin typeface="Verdana" panose="020B0604030504040204" pitchFamily="34" charset="0"/>
              <a:ea typeface="Verdana" panose="020B0604030504040204" pitchFamily="34" charset="0"/>
            </a:endParaRPr>
          </a:p>
          <a:p>
            <a:pPr marL="285750" indent="-285750" algn="just">
              <a:buClr>
                <a:srgbClr val="990000"/>
              </a:buClr>
              <a:buFont typeface="Wingdings" panose="05000000000000000000" pitchFamily="2" charset="2"/>
              <a:buChar char="§"/>
            </a:pPr>
            <a:endParaRPr lang="en-US" sz="1400" b="0" dirty="0">
              <a:solidFill>
                <a:schemeClr val="tx1"/>
              </a:solidFill>
              <a:latin typeface="Verdana" panose="020B0604030504040204" pitchFamily="34" charset="0"/>
              <a:ea typeface="Verdana" panose="020B0604030504040204" pitchFamily="34" charset="0"/>
            </a:endParaRPr>
          </a:p>
        </p:txBody>
      </p:sp>
    </p:spTree>
    <p:custDataLst>
      <p:tags r:id="rId1"/>
    </p:custDataLst>
    <p:extLst>
      <p:ext uri="{BB962C8B-B14F-4D97-AF65-F5344CB8AC3E}">
        <p14:creationId xmlns:p14="http://schemas.microsoft.com/office/powerpoint/2010/main" val="2095253031"/>
      </p:ext>
    </p:extLst>
  </p:cSld>
  <p:clrMapOvr>
    <a:masterClrMapping/>
  </p:clrMapOvr>
  <p:transition spd="slow">
    <p:push/>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0C38DA16-AFF3-4681-BAC1-CFA32F9309C9}"/>
              </a:ext>
            </a:extLst>
          </p:cNvPr>
          <p:cNvSpPr>
            <a:spLocks noGrp="1"/>
          </p:cNvSpPr>
          <p:nvPr>
            <p:ph type="body" sz="quarter" idx="13"/>
          </p:nvPr>
        </p:nvSpPr>
        <p:spPr/>
        <p:txBody>
          <a:bodyPr/>
          <a:lstStyle/>
          <a:p>
            <a:r>
              <a:rPr lang="de-DE" dirty="0"/>
              <a:t>Contact</a:t>
            </a:r>
          </a:p>
        </p:txBody>
      </p:sp>
      <p:sp>
        <p:nvSpPr>
          <p:cNvPr id="10" name="Textplatzhalter 16">
            <a:extLst>
              <a:ext uri="{FF2B5EF4-FFF2-40B4-BE49-F238E27FC236}">
                <a16:creationId xmlns:a16="http://schemas.microsoft.com/office/drawing/2014/main" id="{66761A87-C771-43AF-8689-32C4312DF98E}"/>
              </a:ext>
            </a:extLst>
          </p:cNvPr>
          <p:cNvSpPr txBox="1">
            <a:spLocks/>
          </p:cNvSpPr>
          <p:nvPr/>
        </p:nvSpPr>
        <p:spPr>
          <a:xfrm>
            <a:off x="529577" y="1590819"/>
            <a:ext cx="2240517" cy="251428"/>
          </a:xfrm>
          <a:prstGeom prst="rect">
            <a:avLst/>
          </a:prstGeom>
          <a:noFill/>
          <a:effectLst/>
        </p:spPr>
        <p:txBody>
          <a:bodyPr lIns="0" tIns="0" rIns="0" bIns="0"/>
          <a:lstStyle>
            <a:lvl1pPr marL="0" indent="0" algn="l" defTabSz="914378" rtl="0" eaLnBrk="1" latinLnBrk="0" hangingPunct="1">
              <a:spcBef>
                <a:spcPts val="0"/>
              </a:spcBef>
              <a:spcAft>
                <a:spcPts val="1200"/>
              </a:spcAft>
              <a:buFont typeface="Arial" panose="020B0604020202020204" pitchFamily="34" charset="0"/>
              <a:buNone/>
              <a:defRPr lang="de-DE" sz="1400" b="1" kern="1200">
                <a:solidFill>
                  <a:schemeClr val="bg1"/>
                </a:solidFill>
                <a:latin typeface="Open Sans" panose="020B0606030504020204" pitchFamily="34" charset="0"/>
                <a:ea typeface="+mn-ea"/>
                <a:cs typeface="+mn-cs"/>
              </a:defRPr>
            </a:lvl1pPr>
            <a:lvl2pPr marL="0" indent="0" algn="l" defTabSz="914378" rtl="0" eaLnBrk="1" latinLnBrk="0" hangingPunct="1">
              <a:spcBef>
                <a:spcPts val="0"/>
              </a:spcBef>
              <a:buFont typeface="Wingdings" panose="05000000000000000000" pitchFamily="2" charset="2"/>
              <a:buNone/>
              <a:defRPr lang="de-DE" sz="1200" kern="1200">
                <a:solidFill>
                  <a:schemeClr val="bg1"/>
                </a:solidFill>
                <a:latin typeface="Open Sans" panose="020B0606030504020204" pitchFamily="34" charset="0"/>
                <a:ea typeface="+mn-ea"/>
                <a:cs typeface="+mn-cs"/>
              </a:defRPr>
            </a:lvl2pPr>
            <a:lvl3pPr marL="108000" indent="-108000" algn="l" defTabSz="914378" rtl="0" eaLnBrk="1" latinLnBrk="0" hangingPunct="1">
              <a:spcBef>
                <a:spcPts val="100"/>
              </a:spcBef>
              <a:spcAft>
                <a:spcPts val="0"/>
              </a:spcAft>
              <a:buClr>
                <a:schemeClr val="tx2"/>
              </a:buClr>
              <a:buSzPct val="100000"/>
              <a:buFont typeface="Wingdings" pitchFamily="2" charset="2"/>
              <a:buChar char="§"/>
              <a:defRPr lang="de-DE" sz="1200" b="0" kern="1200" dirty="0">
                <a:solidFill>
                  <a:schemeClr val="bg1"/>
                </a:solidFill>
                <a:latin typeface="Open Sans" panose="020B0606030504020204" pitchFamily="34" charset="0"/>
                <a:ea typeface="+mn-ea"/>
                <a:cs typeface="+mn-cs"/>
              </a:defRPr>
            </a:lvl3pPr>
            <a:lvl4pPr marL="533391" indent="-171450" algn="l" defTabSz="914378" rtl="0" eaLnBrk="1" latinLnBrk="0" hangingPunct="1">
              <a:spcBef>
                <a:spcPct val="20000"/>
              </a:spcBef>
              <a:buFont typeface="Wingdings" panose="05000000000000000000" pitchFamily="2" charset="2"/>
              <a:buChar char="§"/>
              <a:defRPr lang="de-DE" sz="1000" kern="1200" dirty="0">
                <a:solidFill>
                  <a:srgbClr val="7C7C7C"/>
                </a:solidFill>
                <a:latin typeface="Open Sans" panose="020B0606030504020204" pitchFamily="34" charset="0"/>
                <a:ea typeface="+mn-ea"/>
                <a:cs typeface="+mn-cs"/>
              </a:defRPr>
            </a:lvl4pPr>
            <a:lvl5pPr marL="711186" indent="-171450" algn="l" defTabSz="914378" rtl="0" eaLnBrk="1" latinLnBrk="0" hangingPunct="1">
              <a:spcBef>
                <a:spcPct val="20000"/>
              </a:spcBef>
              <a:buFont typeface="Wingdings" panose="05000000000000000000" pitchFamily="2" charset="2"/>
              <a:buChar char="§"/>
              <a:defRPr lang="en-US" sz="1000" kern="1200" dirty="0">
                <a:solidFill>
                  <a:srgbClr val="7C7C7C"/>
                </a:solidFill>
                <a:latin typeface="Open Sans" panose="020B0606030504020204" pitchFamily="34" charset="0"/>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err="1">
                <a:latin typeface="Verdana" panose="020B0604030504040204" pitchFamily="34" charset="0"/>
                <a:ea typeface="Verdana" panose="020B0604030504040204" pitchFamily="34" charset="0"/>
              </a:rPr>
              <a:t>Your</a:t>
            </a:r>
            <a:r>
              <a:rPr lang="de-DE" dirty="0">
                <a:latin typeface="Verdana" panose="020B0604030504040204" pitchFamily="34" charset="0"/>
                <a:ea typeface="Verdana" panose="020B0604030504040204" pitchFamily="34" charset="0"/>
              </a:rPr>
              <a:t> </a:t>
            </a:r>
            <a:r>
              <a:rPr lang="de-DE" dirty="0" err="1">
                <a:latin typeface="Verdana" panose="020B0604030504040204" pitchFamily="34" charset="0"/>
                <a:ea typeface="Verdana" panose="020B0604030504040204" pitchFamily="34" charset="0"/>
              </a:rPr>
              <a:t>contact</a:t>
            </a:r>
            <a:r>
              <a:rPr lang="de-DE" dirty="0">
                <a:latin typeface="Verdana" panose="020B0604030504040204" pitchFamily="34" charset="0"/>
                <a:ea typeface="Verdana" panose="020B0604030504040204" pitchFamily="34" charset="0"/>
              </a:rPr>
              <a:t> </a:t>
            </a:r>
            <a:r>
              <a:rPr lang="de-DE" dirty="0" err="1">
                <a:latin typeface="Verdana" panose="020B0604030504040204" pitchFamily="34" charset="0"/>
                <a:ea typeface="Verdana" panose="020B0604030504040204" pitchFamily="34" charset="0"/>
              </a:rPr>
              <a:t>person</a:t>
            </a:r>
            <a:endParaRPr lang="de-DE" dirty="0">
              <a:latin typeface="Verdana" panose="020B0604030504040204" pitchFamily="34" charset="0"/>
              <a:ea typeface="Verdana" panose="020B0604030504040204" pitchFamily="34" charset="0"/>
            </a:endParaRPr>
          </a:p>
        </p:txBody>
      </p:sp>
      <p:sp>
        <p:nvSpPr>
          <p:cNvPr id="11" name="Textplatzhalter 16">
            <a:extLst>
              <a:ext uri="{FF2B5EF4-FFF2-40B4-BE49-F238E27FC236}">
                <a16:creationId xmlns:a16="http://schemas.microsoft.com/office/drawing/2014/main" id="{2650DA9E-C0E5-4D91-AA33-9C5FB3DD56CC}"/>
              </a:ext>
            </a:extLst>
          </p:cNvPr>
          <p:cNvSpPr txBox="1">
            <a:spLocks/>
          </p:cNvSpPr>
          <p:nvPr/>
        </p:nvSpPr>
        <p:spPr>
          <a:xfrm>
            <a:off x="529577" y="1956547"/>
            <a:ext cx="8085677" cy="1344707"/>
          </a:xfrm>
          <a:prstGeom prst="rect">
            <a:avLst/>
          </a:prstGeom>
          <a:noFill/>
          <a:effectLst/>
        </p:spPr>
        <p:txBody>
          <a:bodyPr lIns="0" tIns="0" rIns="0" bIns="0" numCol="2"/>
          <a:lstStyle>
            <a:lvl1pPr marL="0" indent="0" algn="l" defTabSz="914378" rtl="0" eaLnBrk="1" latinLnBrk="0" hangingPunct="1">
              <a:spcBef>
                <a:spcPts val="0"/>
              </a:spcBef>
              <a:spcAft>
                <a:spcPts val="1200"/>
              </a:spcAft>
              <a:buFont typeface="Arial" panose="020B0604020202020204" pitchFamily="34" charset="0"/>
              <a:buNone/>
              <a:defRPr lang="de-DE" sz="1400" b="1" kern="1200">
                <a:solidFill>
                  <a:schemeClr val="bg1"/>
                </a:solidFill>
                <a:latin typeface="Open Sans" panose="020B0606030504020204" pitchFamily="34" charset="0"/>
                <a:ea typeface="+mn-ea"/>
                <a:cs typeface="+mn-cs"/>
              </a:defRPr>
            </a:lvl1pPr>
            <a:lvl2pPr marL="0" indent="0" algn="l" defTabSz="914378" rtl="0" eaLnBrk="1" latinLnBrk="0" hangingPunct="1">
              <a:spcBef>
                <a:spcPts val="0"/>
              </a:spcBef>
              <a:buFont typeface="Wingdings" panose="05000000000000000000" pitchFamily="2" charset="2"/>
              <a:buNone/>
              <a:defRPr lang="de-DE" sz="1200" kern="1200">
                <a:solidFill>
                  <a:schemeClr val="bg1"/>
                </a:solidFill>
                <a:latin typeface="Open Sans" panose="020B0606030504020204" pitchFamily="34" charset="0"/>
                <a:ea typeface="+mn-ea"/>
                <a:cs typeface="+mn-cs"/>
              </a:defRPr>
            </a:lvl2pPr>
            <a:lvl3pPr marL="108000" indent="-108000" algn="l" defTabSz="914378" rtl="0" eaLnBrk="1" latinLnBrk="0" hangingPunct="1">
              <a:spcBef>
                <a:spcPts val="100"/>
              </a:spcBef>
              <a:spcAft>
                <a:spcPts val="0"/>
              </a:spcAft>
              <a:buClr>
                <a:schemeClr val="tx2"/>
              </a:buClr>
              <a:buSzPct val="100000"/>
              <a:buFont typeface="Wingdings" pitchFamily="2" charset="2"/>
              <a:buChar char="§"/>
              <a:defRPr lang="de-DE" sz="1200" b="0" kern="1200" dirty="0">
                <a:solidFill>
                  <a:schemeClr val="bg1"/>
                </a:solidFill>
                <a:latin typeface="Open Sans" panose="020B0606030504020204" pitchFamily="34" charset="0"/>
                <a:ea typeface="+mn-ea"/>
                <a:cs typeface="+mn-cs"/>
              </a:defRPr>
            </a:lvl3pPr>
            <a:lvl4pPr marL="533391" indent="-171450" algn="l" defTabSz="914378" rtl="0" eaLnBrk="1" latinLnBrk="0" hangingPunct="1">
              <a:spcBef>
                <a:spcPct val="20000"/>
              </a:spcBef>
              <a:buFont typeface="Wingdings" panose="05000000000000000000" pitchFamily="2" charset="2"/>
              <a:buChar char="§"/>
              <a:defRPr lang="de-DE" sz="1000" kern="1200" dirty="0">
                <a:solidFill>
                  <a:srgbClr val="7C7C7C"/>
                </a:solidFill>
                <a:latin typeface="Open Sans" panose="020B0606030504020204" pitchFamily="34" charset="0"/>
                <a:ea typeface="+mn-ea"/>
                <a:cs typeface="+mn-cs"/>
              </a:defRPr>
            </a:lvl4pPr>
            <a:lvl5pPr marL="711186" indent="-171450" algn="l" defTabSz="914378" rtl="0" eaLnBrk="1" latinLnBrk="0" hangingPunct="1">
              <a:spcBef>
                <a:spcPct val="20000"/>
              </a:spcBef>
              <a:buFont typeface="Wingdings" panose="05000000000000000000" pitchFamily="2" charset="2"/>
              <a:buChar char="§"/>
              <a:defRPr lang="en-US" sz="1000" kern="1200" dirty="0">
                <a:solidFill>
                  <a:srgbClr val="7C7C7C"/>
                </a:solidFill>
                <a:latin typeface="Open Sans" panose="020B0606030504020204" pitchFamily="34" charset="0"/>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defTabSz="685800">
              <a:lnSpc>
                <a:spcPct val="120000"/>
              </a:lnSpc>
              <a:buClr>
                <a:srgbClr val="FF8200"/>
              </a:buClr>
              <a:buSzPct val="75000"/>
              <a:buFontTx/>
              <a:buNone/>
              <a:defRPr/>
            </a:pPr>
            <a:r>
              <a:rPr lang="de-DE" sz="900" b="1" dirty="0">
                <a:solidFill>
                  <a:srgbClr val="FFFFFF"/>
                </a:solidFill>
                <a:latin typeface="Verdana" panose="020B0604030504040204" pitchFamily="34" charset="0"/>
                <a:ea typeface="Verdana" panose="020B0604030504040204" pitchFamily="34" charset="0"/>
              </a:rPr>
              <a:t>Robert Nica		Sebastian Ioani</a:t>
            </a:r>
          </a:p>
          <a:p>
            <a:pPr lvl="1" defTabSz="685800">
              <a:lnSpc>
                <a:spcPct val="120000"/>
              </a:lnSpc>
              <a:buClr>
                <a:srgbClr val="FF8200"/>
              </a:buClr>
              <a:buSzPct val="75000"/>
              <a:buFontTx/>
              <a:buNone/>
              <a:defRPr/>
            </a:pPr>
            <a:r>
              <a:rPr lang="de-DE" sz="800" dirty="0">
                <a:solidFill>
                  <a:srgbClr val="FFFFFF"/>
                </a:solidFill>
                <a:latin typeface="Verdana" panose="020B0604030504040204" pitchFamily="34" charset="0"/>
                <a:ea typeface="Verdana" panose="020B0604030504040204" pitchFamily="34" charset="0"/>
              </a:rPr>
              <a:t>SW Developer		SW Developer</a:t>
            </a:r>
          </a:p>
          <a:p>
            <a:pPr lvl="1" defTabSz="685800">
              <a:lnSpc>
                <a:spcPct val="120000"/>
              </a:lnSpc>
              <a:buClr>
                <a:srgbClr val="FF8200"/>
              </a:buClr>
              <a:buSzPct val="75000"/>
              <a:buFontTx/>
              <a:buNone/>
              <a:defRPr/>
            </a:pPr>
            <a:r>
              <a:rPr lang="de-DE" sz="800" dirty="0">
                <a:solidFill>
                  <a:srgbClr val="FFFFFF"/>
                </a:solidFill>
                <a:latin typeface="Verdana" panose="020B0604030504040204" pitchFamily="34" charset="0"/>
                <a:ea typeface="Verdana" panose="020B0604030504040204" pitchFamily="34" charset="0"/>
              </a:rPr>
              <a:t>E-Mail: robert.nica@in-tech.com           E-Mail: sebastian.ioani@in-tech.com</a:t>
            </a:r>
          </a:p>
          <a:p>
            <a:pPr lvl="1" defTabSz="685800">
              <a:lnSpc>
                <a:spcPct val="120000"/>
              </a:lnSpc>
              <a:buClr>
                <a:srgbClr val="FF8200"/>
              </a:buClr>
              <a:buSzPct val="75000"/>
              <a:buFontTx/>
              <a:buNone/>
              <a:defRPr/>
            </a:pPr>
            <a:endParaRPr lang="en-US" sz="800" dirty="0">
              <a:solidFill>
                <a:srgbClr val="FFFFFF"/>
              </a:solidFill>
              <a:latin typeface="Verdana" panose="020B0604030504040204" pitchFamily="34" charset="0"/>
              <a:ea typeface="Verdana" panose="020B0604030504040204" pitchFamily="34" charset="0"/>
            </a:endParaRPr>
          </a:p>
          <a:p>
            <a:pPr lvl="1" defTabSz="685800">
              <a:lnSpc>
                <a:spcPct val="120000"/>
              </a:lnSpc>
              <a:buClr>
                <a:srgbClr val="FF8200"/>
              </a:buClr>
              <a:buSzPct val="75000"/>
              <a:buFontTx/>
              <a:buNone/>
              <a:defRPr/>
            </a:pPr>
            <a:endParaRPr lang="en-US" sz="800" dirty="0">
              <a:solidFill>
                <a:srgbClr val="FFFFFF"/>
              </a:solidFill>
              <a:latin typeface="Verdana" panose="020B0604030504040204" pitchFamily="34" charset="0"/>
              <a:ea typeface="Verdana" panose="020B0604030504040204" pitchFamily="34" charset="0"/>
            </a:endParaRPr>
          </a:p>
          <a:p>
            <a:pPr lvl="1" defTabSz="685800">
              <a:lnSpc>
                <a:spcPct val="120000"/>
              </a:lnSpc>
              <a:buClr>
                <a:srgbClr val="FF8200"/>
              </a:buClr>
              <a:buSzPct val="75000"/>
              <a:buFontTx/>
              <a:buNone/>
              <a:defRPr/>
            </a:pPr>
            <a:endParaRPr lang="en-US" sz="900" b="1" dirty="0">
              <a:solidFill>
                <a:srgbClr val="FFFFFF"/>
              </a:solidFill>
              <a:latin typeface="Verdana" panose="020B0604030504040204" pitchFamily="34" charset="0"/>
              <a:ea typeface="Verdana" panose="020B0604030504040204" pitchFamily="34" charset="0"/>
            </a:endParaRPr>
          </a:p>
        </p:txBody>
      </p:sp>
      <p:sp>
        <p:nvSpPr>
          <p:cNvPr id="12" name="Inhaltsplatzhalter 2">
            <a:extLst>
              <a:ext uri="{FF2B5EF4-FFF2-40B4-BE49-F238E27FC236}">
                <a16:creationId xmlns:a16="http://schemas.microsoft.com/office/drawing/2014/main" id="{034242AB-1A58-4D7E-A028-72A25F5CB7FF}"/>
              </a:ext>
            </a:extLst>
          </p:cNvPr>
          <p:cNvSpPr txBox="1">
            <a:spLocks/>
          </p:cNvSpPr>
          <p:nvPr/>
        </p:nvSpPr>
        <p:spPr>
          <a:xfrm>
            <a:off x="529577" y="3751872"/>
            <a:ext cx="1453770" cy="911424"/>
          </a:xfrm>
          <a:prstGeom prst="rect">
            <a:avLst/>
          </a:prstGeom>
          <a:ln>
            <a:noFill/>
          </a:ln>
        </p:spPr>
        <p:txBody>
          <a:bodyPr lIns="0" tIns="0" rIns="0" bIns="0"/>
          <a:lstStyle>
            <a:lvl1pPr marL="0" indent="0" algn="l" defTabSz="914400" rtl="0" eaLnBrk="1" latinLnBrk="0" hangingPunct="1">
              <a:spcBef>
                <a:spcPct val="20000"/>
              </a:spcBef>
              <a:buFont typeface="Arial" panose="020B0604020202020204" pitchFamily="34" charset="0"/>
              <a:buNone/>
              <a:defRPr lang="de-DE" sz="1400" b="1" kern="1200" dirty="0">
                <a:solidFill>
                  <a:srgbClr val="FF8200"/>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914400" rtl="0" eaLnBrk="1" latinLnBrk="0" hangingPunct="1">
              <a:spcBef>
                <a:spcPct val="20000"/>
              </a:spcBef>
              <a:buFont typeface="Arial" panose="020B0604020202020204" pitchFamily="34" charset="0"/>
              <a:buNone/>
              <a:defRPr lang="de-DE" sz="1100" kern="1200" dirty="0">
                <a:solidFill>
                  <a:srgbClr val="7C7C7C"/>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spcBef>
                <a:spcPct val="20000"/>
              </a:spcBef>
              <a:buFont typeface="Arial" panose="020B0604020202020204" pitchFamily="34" charset="0"/>
              <a:buChar char="•"/>
              <a:defRPr lang="de-DE" sz="1100" kern="1200" dirty="0">
                <a:solidFill>
                  <a:srgbClr val="7C7C7C"/>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spcBef>
                <a:spcPct val="20000"/>
              </a:spcBef>
              <a:buFont typeface="Arial" panose="020B0604020202020204" pitchFamily="34" charset="0"/>
              <a:buChar char="–"/>
              <a:defRPr lang="de-DE" sz="1100" kern="1200" dirty="0">
                <a:solidFill>
                  <a:srgbClr val="7C7C7C"/>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spcBef>
                <a:spcPct val="20000"/>
              </a:spcBef>
              <a:buFont typeface="Arial" panose="020B0604020202020204" pitchFamily="34" charset="0"/>
              <a:buChar char="»"/>
              <a:defRPr lang="de-DE" sz="1100" kern="1200" dirty="0">
                <a:solidFill>
                  <a:srgbClr val="7C7C7C"/>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nSpc>
                <a:spcPct val="120000"/>
              </a:lnSpc>
              <a:spcBef>
                <a:spcPts val="0"/>
              </a:spcBef>
              <a:buClr>
                <a:srgbClr val="FF8200"/>
              </a:buClr>
              <a:buSzPct val="75000"/>
            </a:pPr>
            <a:r>
              <a:rPr lang="de-DE" sz="900" b="1" dirty="0" err="1">
                <a:solidFill>
                  <a:schemeClr val="bg1"/>
                </a:solidFill>
                <a:latin typeface="Verdana" panose="020B0604030504040204" pitchFamily="34" charset="0"/>
                <a:ea typeface="Verdana" panose="020B0604030504040204" pitchFamily="34" charset="0"/>
              </a:rPr>
              <a:t>ProIT</a:t>
            </a:r>
            <a:r>
              <a:rPr lang="de-DE" sz="900" b="1" dirty="0">
                <a:solidFill>
                  <a:schemeClr val="bg1"/>
                </a:solidFill>
                <a:latin typeface="Verdana" panose="020B0604030504040204" pitchFamily="34" charset="0"/>
                <a:ea typeface="Verdana" panose="020B0604030504040204" pitchFamily="34" charset="0"/>
              </a:rPr>
              <a:t> SRL</a:t>
            </a:r>
          </a:p>
          <a:p>
            <a:pPr lvl="1">
              <a:lnSpc>
                <a:spcPct val="120000"/>
              </a:lnSpc>
              <a:spcBef>
                <a:spcPts val="0"/>
              </a:spcBef>
              <a:buClr>
                <a:srgbClr val="FF8200"/>
              </a:buClr>
              <a:buSzPct val="75000"/>
            </a:pPr>
            <a:r>
              <a:rPr lang="de-DE" sz="800" dirty="0" err="1">
                <a:solidFill>
                  <a:schemeClr val="bg1"/>
                </a:solidFill>
                <a:latin typeface="Verdana" panose="020B0604030504040204" pitchFamily="34" charset="0"/>
                <a:ea typeface="Verdana" panose="020B0604030504040204" pitchFamily="34" charset="0"/>
              </a:rPr>
              <a:t>Calea</a:t>
            </a:r>
            <a:r>
              <a:rPr lang="de-DE" sz="800" dirty="0">
                <a:solidFill>
                  <a:schemeClr val="bg1"/>
                </a:solidFill>
                <a:latin typeface="Verdana" panose="020B0604030504040204" pitchFamily="34" charset="0"/>
                <a:ea typeface="Verdana" panose="020B0604030504040204" pitchFamily="34" charset="0"/>
              </a:rPr>
              <a:t> </a:t>
            </a:r>
            <a:r>
              <a:rPr lang="de-DE" sz="800" dirty="0" err="1">
                <a:solidFill>
                  <a:schemeClr val="bg1"/>
                </a:solidFill>
                <a:latin typeface="Verdana" panose="020B0604030504040204" pitchFamily="34" charset="0"/>
                <a:ea typeface="Verdana" panose="020B0604030504040204" pitchFamily="34" charset="0"/>
              </a:rPr>
              <a:t>Dumbravii</a:t>
            </a:r>
            <a:r>
              <a:rPr lang="de-DE" sz="800" dirty="0">
                <a:solidFill>
                  <a:schemeClr val="bg1"/>
                </a:solidFill>
                <a:latin typeface="Verdana" panose="020B0604030504040204" pitchFamily="34" charset="0"/>
                <a:ea typeface="Verdana" panose="020B0604030504040204" pitchFamily="34" charset="0"/>
              </a:rPr>
              <a:t> 111A </a:t>
            </a:r>
          </a:p>
          <a:p>
            <a:pPr lvl="1">
              <a:lnSpc>
                <a:spcPct val="120000"/>
              </a:lnSpc>
              <a:spcBef>
                <a:spcPts val="0"/>
              </a:spcBef>
              <a:buClr>
                <a:srgbClr val="FF8200"/>
              </a:buClr>
              <a:buSzPct val="75000"/>
            </a:pPr>
            <a:r>
              <a:rPr lang="de-DE" sz="800" dirty="0">
                <a:solidFill>
                  <a:schemeClr val="bg1"/>
                </a:solidFill>
                <a:latin typeface="Verdana" panose="020B0604030504040204" pitchFamily="34" charset="0"/>
                <a:ea typeface="Verdana" panose="020B0604030504040204" pitchFamily="34" charset="0"/>
              </a:rPr>
              <a:t>550399 Sibiu </a:t>
            </a:r>
          </a:p>
          <a:p>
            <a:pPr lvl="1">
              <a:lnSpc>
                <a:spcPct val="120000"/>
              </a:lnSpc>
              <a:spcBef>
                <a:spcPts val="0"/>
              </a:spcBef>
              <a:buClr>
                <a:srgbClr val="FF8200"/>
              </a:buClr>
              <a:buSzPct val="75000"/>
            </a:pPr>
            <a:r>
              <a:rPr lang="de-DE" sz="800" dirty="0">
                <a:solidFill>
                  <a:schemeClr val="bg1"/>
                </a:solidFill>
                <a:latin typeface="Verdana" panose="020B0604030504040204" pitchFamily="34" charset="0"/>
                <a:ea typeface="Verdana" panose="020B0604030504040204" pitchFamily="34" charset="0"/>
              </a:rPr>
              <a:t>Romania</a:t>
            </a:r>
          </a:p>
          <a:p>
            <a:pPr lvl="1">
              <a:lnSpc>
                <a:spcPct val="120000"/>
              </a:lnSpc>
              <a:spcBef>
                <a:spcPts val="0"/>
              </a:spcBef>
              <a:buClr>
                <a:srgbClr val="FF8200"/>
              </a:buClr>
              <a:buSzPct val="75000"/>
            </a:pPr>
            <a:r>
              <a:rPr lang="en-US" sz="800" dirty="0" err="1">
                <a:solidFill>
                  <a:schemeClr val="bg1"/>
                </a:solidFill>
                <a:latin typeface="Verdana" panose="020B0604030504040204" pitchFamily="34" charset="0"/>
                <a:ea typeface="Verdana" panose="020B0604030504040204" pitchFamily="34" charset="0"/>
              </a:rPr>
              <a:t>www.in-tech.com</a:t>
            </a:r>
            <a:endParaRPr lang="en-US" sz="800" dirty="0">
              <a:solidFill>
                <a:schemeClr val="bg1"/>
              </a:solidFill>
              <a:latin typeface="Verdana" panose="020B0604030504040204" pitchFamily="34" charset="0"/>
              <a:ea typeface="Verdana" panose="020B0604030504040204" pitchFamily="34" charset="0"/>
            </a:endParaRPr>
          </a:p>
          <a:p>
            <a:pPr lvl="1">
              <a:lnSpc>
                <a:spcPct val="120000"/>
              </a:lnSpc>
              <a:spcBef>
                <a:spcPts val="0"/>
              </a:spcBef>
              <a:buClr>
                <a:srgbClr val="FF8200"/>
              </a:buClr>
              <a:buSzPct val="75000"/>
            </a:pPr>
            <a:endParaRPr lang="en-US" sz="800" dirty="0">
              <a:latin typeface="Verdana" panose="020B0604030504040204" pitchFamily="34" charset="0"/>
              <a:ea typeface="Verdana" panose="020B0604030504040204" pitchFamily="34" charset="0"/>
            </a:endParaRPr>
          </a:p>
        </p:txBody>
      </p:sp>
    </p:spTree>
    <p:custDataLst>
      <p:tags r:id="rId1"/>
    </p:custDataLst>
    <p:extLst>
      <p:ext uri="{BB962C8B-B14F-4D97-AF65-F5344CB8AC3E}">
        <p14:creationId xmlns:p14="http://schemas.microsoft.com/office/powerpoint/2010/main" val="2882960325"/>
      </p:ext>
    </p:extLst>
  </p:cSld>
  <p:clrMapOvr>
    <a:masterClrMapping/>
  </p:clrMapOvr>
  <p:transition spd="slow">
    <p:push/>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Git workflow</a:t>
            </a:r>
            <a:endParaRPr lang="de-DE" dirty="0"/>
          </a:p>
        </p:txBody>
      </p:sp>
      <p:pic>
        <p:nvPicPr>
          <p:cNvPr id="9" name="Picture 8">
            <a:extLst>
              <a:ext uri="{FF2B5EF4-FFF2-40B4-BE49-F238E27FC236}">
                <a16:creationId xmlns:a16="http://schemas.microsoft.com/office/drawing/2014/main" id="{C6E9870A-DBBA-6477-F857-0EF266FED65F}"/>
              </a:ext>
            </a:extLst>
          </p:cNvPr>
          <p:cNvPicPr>
            <a:picLocks noChangeAspect="1"/>
          </p:cNvPicPr>
          <p:nvPr/>
        </p:nvPicPr>
        <p:blipFill>
          <a:blip r:embed="rId4"/>
          <a:stretch>
            <a:fillRect/>
          </a:stretch>
        </p:blipFill>
        <p:spPr>
          <a:xfrm>
            <a:off x="1932039" y="887192"/>
            <a:ext cx="5161697" cy="3896547"/>
          </a:xfrm>
          <a:prstGeom prst="rect">
            <a:avLst/>
          </a:prstGeom>
        </p:spPr>
      </p:pic>
    </p:spTree>
    <p:custDataLst>
      <p:tags r:id="rId1"/>
    </p:custDataLst>
    <p:extLst>
      <p:ext uri="{BB962C8B-B14F-4D97-AF65-F5344CB8AC3E}">
        <p14:creationId xmlns:p14="http://schemas.microsoft.com/office/powerpoint/2010/main" val="13963110"/>
      </p:ext>
    </p:extLst>
  </p:cSld>
  <p:clrMapOvr>
    <a:masterClrMapping/>
  </p:clrMapOvr>
  <p:transition spd="slow">
    <p:push/>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a:t>How to create a new repository</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3751352"/>
          </a:xfrm>
        </p:spPr>
        <p:txBody>
          <a:bodyPr/>
          <a:lstStyle/>
          <a:p>
            <a:r>
              <a:rPr lang="en-US" sz="1400" b="0" dirty="0">
                <a:solidFill>
                  <a:srgbClr val="333333"/>
                </a:solidFill>
              </a:rPr>
              <a:t>Log in to your GitHub account and navigate to the top right corner. Then, select 'New repository’</a:t>
            </a:r>
          </a:p>
          <a:p>
            <a:endParaRPr lang="en-US" sz="1600" b="0" dirty="0">
              <a:solidFill>
                <a:srgbClr val="333333"/>
              </a:solidFill>
            </a:endParaRPr>
          </a:p>
          <a:p>
            <a:endParaRPr lang="en-US" sz="1600" b="0" dirty="0">
              <a:solidFill>
                <a:srgbClr val="333333"/>
              </a:solidFill>
            </a:endParaRPr>
          </a:p>
          <a:p>
            <a:endParaRPr lang="en-US" sz="1600" b="0" dirty="0"/>
          </a:p>
        </p:txBody>
      </p:sp>
      <p:pic>
        <p:nvPicPr>
          <p:cNvPr id="5" name="Picture 4">
            <a:extLst>
              <a:ext uri="{FF2B5EF4-FFF2-40B4-BE49-F238E27FC236}">
                <a16:creationId xmlns:a16="http://schemas.microsoft.com/office/drawing/2014/main" id="{C32D1D95-5809-6BDD-DE25-9AFA5B68D091}"/>
              </a:ext>
            </a:extLst>
          </p:cNvPr>
          <p:cNvPicPr>
            <a:picLocks noChangeAspect="1"/>
          </p:cNvPicPr>
          <p:nvPr/>
        </p:nvPicPr>
        <p:blipFill rotWithShape="1">
          <a:blip r:embed="rId3"/>
          <a:srcRect b="6707"/>
          <a:stretch/>
        </p:blipFill>
        <p:spPr>
          <a:xfrm>
            <a:off x="1540029" y="1769553"/>
            <a:ext cx="1523574" cy="927927"/>
          </a:xfrm>
          <a:prstGeom prst="rect">
            <a:avLst/>
          </a:prstGeom>
        </p:spPr>
      </p:pic>
      <p:pic>
        <p:nvPicPr>
          <p:cNvPr id="6" name="Picture 5">
            <a:extLst>
              <a:ext uri="{FF2B5EF4-FFF2-40B4-BE49-F238E27FC236}">
                <a16:creationId xmlns:a16="http://schemas.microsoft.com/office/drawing/2014/main" id="{23777932-50CB-EDAC-991C-99451ABFC5CD}"/>
              </a:ext>
            </a:extLst>
          </p:cNvPr>
          <p:cNvPicPr>
            <a:picLocks noChangeAspect="1"/>
          </p:cNvPicPr>
          <p:nvPr/>
        </p:nvPicPr>
        <p:blipFill>
          <a:blip r:embed="rId4"/>
          <a:stretch>
            <a:fillRect/>
          </a:stretch>
        </p:blipFill>
        <p:spPr>
          <a:xfrm>
            <a:off x="4329189" y="1520230"/>
            <a:ext cx="2424164" cy="3070820"/>
          </a:xfrm>
          <a:prstGeom prst="rect">
            <a:avLst/>
          </a:prstGeom>
        </p:spPr>
      </p:pic>
    </p:spTree>
    <p:custDataLst>
      <p:tags r:id="rId1"/>
    </p:custDataLst>
    <p:extLst>
      <p:ext uri="{BB962C8B-B14F-4D97-AF65-F5344CB8AC3E}">
        <p14:creationId xmlns:p14="http://schemas.microsoft.com/office/powerpoint/2010/main" val="1758130450"/>
      </p:ext>
    </p:extLst>
  </p:cSld>
  <p:clrMapOvr>
    <a:masterClrMapping/>
  </p:clrMapOvr>
  <p:transition spd="slow">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Add Collaborators</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3751352"/>
          </a:xfrm>
        </p:spPr>
        <p:txBody>
          <a:bodyPr/>
          <a:lstStyle/>
          <a:p>
            <a:endParaRPr lang="en-US" sz="1600" b="0" dirty="0">
              <a:solidFill>
                <a:srgbClr val="333333"/>
              </a:solidFill>
            </a:endParaRPr>
          </a:p>
          <a:p>
            <a:endParaRPr lang="en-US" sz="1600" b="0" dirty="0">
              <a:solidFill>
                <a:srgbClr val="333333"/>
              </a:solidFill>
            </a:endParaRPr>
          </a:p>
          <a:p>
            <a:endParaRPr lang="en-US" sz="1600" b="0"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60000" y="1041434"/>
            <a:ext cx="7955280" cy="1169551"/>
          </a:xfrm>
          <a:prstGeom prst="rect">
            <a:avLst/>
          </a:prstGeom>
          <a:noFill/>
        </p:spPr>
        <p:txBody>
          <a:bodyPr wrap="square">
            <a:spAutoFit/>
          </a:bodyPr>
          <a:lstStyle/>
          <a:p>
            <a:pPr marL="285750" indent="-285750" algn="just">
              <a:buClr>
                <a:srgbClr val="990000"/>
              </a:buClr>
              <a:buFont typeface="Wingdings" panose="05000000000000000000" pitchFamily="2" charset="2"/>
              <a:buChar char="§"/>
            </a:pPr>
            <a:r>
              <a:rPr lang="en-US" sz="1400" b="0" dirty="0">
                <a:solidFill>
                  <a:schemeClr val="tx1"/>
                </a:solidFill>
                <a:latin typeface="Verdana" panose="020B0604030504040204" pitchFamily="34" charset="0"/>
                <a:ea typeface="Verdana" panose="020B0604030504040204" pitchFamily="34" charset="0"/>
              </a:rPr>
              <a:t>To collaborate with users in a repository that belongs to your personal account on GitHub, you can invite the users as collaborators</a:t>
            </a:r>
          </a:p>
          <a:p>
            <a:pPr marL="285750" indent="-285750" algn="just">
              <a:buClr>
                <a:srgbClr val="990000"/>
              </a:buClr>
              <a:buFont typeface="Wingdings" panose="05000000000000000000" pitchFamily="2" charset="2"/>
              <a:buChar char="§"/>
            </a:pPr>
            <a:r>
              <a:rPr lang="en-US" sz="1400" dirty="0">
                <a:latin typeface="Verdana" panose="020B0604030504040204" pitchFamily="34" charset="0"/>
                <a:ea typeface="Verdana" panose="020B0604030504040204" pitchFamily="34" charset="0"/>
              </a:rPr>
              <a:t>You can send an invitation to collaborate in your repository directly to someone on GitHub.</a:t>
            </a:r>
          </a:p>
          <a:p>
            <a:pPr marL="285750" indent="-285750" algn="just">
              <a:buClr>
                <a:srgbClr val="990000"/>
              </a:buClr>
              <a:buFont typeface="Wingdings" panose="05000000000000000000" pitchFamily="2" charset="2"/>
              <a:buChar char="§"/>
            </a:pPr>
            <a:endParaRPr lang="en-US" sz="1400" b="0" dirty="0">
              <a:solidFill>
                <a:schemeClr val="tx1"/>
              </a:solidFill>
              <a:latin typeface="Verdana" panose="020B0604030504040204" pitchFamily="34" charset="0"/>
              <a:ea typeface="Verdana" panose="020B0604030504040204" pitchFamily="34" charset="0"/>
            </a:endParaRPr>
          </a:p>
        </p:txBody>
      </p:sp>
      <p:grpSp>
        <p:nvGrpSpPr>
          <p:cNvPr id="9" name="Group 8">
            <a:extLst>
              <a:ext uri="{FF2B5EF4-FFF2-40B4-BE49-F238E27FC236}">
                <a16:creationId xmlns:a16="http://schemas.microsoft.com/office/drawing/2014/main" id="{A9CD0E72-B54D-6B7A-2390-AE39159210E9}"/>
              </a:ext>
            </a:extLst>
          </p:cNvPr>
          <p:cNvGrpSpPr/>
          <p:nvPr/>
        </p:nvGrpSpPr>
        <p:grpSpPr>
          <a:xfrm>
            <a:off x="2269848" y="1951528"/>
            <a:ext cx="4601029" cy="2874731"/>
            <a:chOff x="6281713" y="5151829"/>
            <a:chExt cx="11820573" cy="7734850"/>
          </a:xfrm>
        </p:grpSpPr>
        <p:pic>
          <p:nvPicPr>
            <p:cNvPr id="10" name="Picture 9">
              <a:extLst>
                <a:ext uri="{FF2B5EF4-FFF2-40B4-BE49-F238E27FC236}">
                  <a16:creationId xmlns:a16="http://schemas.microsoft.com/office/drawing/2014/main" id="{564B9F7B-054F-3987-FCC4-B9FAD05E2A17}"/>
                </a:ext>
              </a:extLst>
            </p:cNvPr>
            <p:cNvPicPr>
              <a:picLocks noChangeAspect="1"/>
            </p:cNvPicPr>
            <p:nvPr/>
          </p:nvPicPr>
          <p:blipFill>
            <a:blip r:embed="rId3"/>
            <a:stretch>
              <a:fillRect/>
            </a:stretch>
          </p:blipFill>
          <p:spPr>
            <a:xfrm>
              <a:off x="6281713" y="5561856"/>
              <a:ext cx="11820573" cy="7324823"/>
            </a:xfrm>
            <a:prstGeom prst="rect">
              <a:avLst/>
            </a:prstGeom>
          </p:spPr>
        </p:pic>
        <p:sp>
          <p:nvSpPr>
            <p:cNvPr id="11" name="Arrow: Down 10">
              <a:extLst>
                <a:ext uri="{FF2B5EF4-FFF2-40B4-BE49-F238E27FC236}">
                  <a16:creationId xmlns:a16="http://schemas.microsoft.com/office/drawing/2014/main" id="{EA5F16EB-0AC2-57A9-F2D8-D0A212EE340A}"/>
                </a:ext>
              </a:extLst>
            </p:cNvPr>
            <p:cNvSpPr/>
            <p:nvPr/>
          </p:nvSpPr>
          <p:spPr bwMode="auto">
            <a:xfrm>
              <a:off x="12912080" y="5151829"/>
              <a:ext cx="393204" cy="820054"/>
            </a:xfrm>
            <a:prstGeom prst="downArrow">
              <a:avLst/>
            </a:prstGeom>
            <a:solidFill>
              <a:srgbClr val="C00000"/>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endParaRPr>
            </a:p>
          </p:txBody>
        </p:sp>
        <p:sp>
          <p:nvSpPr>
            <p:cNvPr id="12" name="Arrow: Down 11">
              <a:extLst>
                <a:ext uri="{FF2B5EF4-FFF2-40B4-BE49-F238E27FC236}">
                  <a16:creationId xmlns:a16="http://schemas.microsoft.com/office/drawing/2014/main" id="{772E04F0-DAD3-1F73-9740-88D98AA76DE0}"/>
                </a:ext>
              </a:extLst>
            </p:cNvPr>
            <p:cNvSpPr/>
            <p:nvPr/>
          </p:nvSpPr>
          <p:spPr bwMode="auto">
            <a:xfrm rot="16200000">
              <a:off x="7940929" y="6932607"/>
              <a:ext cx="393204" cy="820054"/>
            </a:xfrm>
            <a:prstGeom prst="downArrow">
              <a:avLst/>
            </a:prstGeom>
            <a:solidFill>
              <a:srgbClr val="C00000"/>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endParaRPr>
            </a:p>
          </p:txBody>
        </p:sp>
      </p:grpSp>
    </p:spTree>
    <p:custDataLst>
      <p:tags r:id="rId1"/>
    </p:custDataLst>
    <p:extLst>
      <p:ext uri="{BB962C8B-B14F-4D97-AF65-F5344CB8AC3E}">
        <p14:creationId xmlns:p14="http://schemas.microsoft.com/office/powerpoint/2010/main" val="2398121959"/>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HTPPS of your git repository</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3751352"/>
          </a:xfrm>
        </p:spPr>
        <p:txBody>
          <a:bodyPr/>
          <a:lstStyle/>
          <a:p>
            <a:r>
              <a:rPr lang="en-US" sz="1400" b="0" dirty="0">
                <a:solidFill>
                  <a:srgbClr val="333333"/>
                </a:solidFill>
              </a:rPr>
              <a:t>The repository was created. In “Code” you can see the HTPPS of your git repository.</a:t>
            </a:r>
          </a:p>
          <a:p>
            <a:endParaRPr lang="en-US" sz="1600" b="0" dirty="0">
              <a:solidFill>
                <a:srgbClr val="333333"/>
              </a:solidFill>
            </a:endParaRPr>
          </a:p>
          <a:p>
            <a:endParaRPr lang="en-US" sz="1600" b="0" dirty="0">
              <a:solidFill>
                <a:srgbClr val="333333"/>
              </a:solidFill>
            </a:endParaRPr>
          </a:p>
          <a:p>
            <a:endParaRPr lang="en-US" sz="1600" b="0" dirty="0"/>
          </a:p>
        </p:txBody>
      </p:sp>
      <p:pic>
        <p:nvPicPr>
          <p:cNvPr id="3" name="Picture 2">
            <a:extLst>
              <a:ext uri="{FF2B5EF4-FFF2-40B4-BE49-F238E27FC236}">
                <a16:creationId xmlns:a16="http://schemas.microsoft.com/office/drawing/2014/main" id="{6AA1876F-543D-66A4-96AD-DA0E3B1A35CA}"/>
              </a:ext>
            </a:extLst>
          </p:cNvPr>
          <p:cNvPicPr>
            <a:picLocks noChangeAspect="1"/>
          </p:cNvPicPr>
          <p:nvPr/>
        </p:nvPicPr>
        <p:blipFill>
          <a:blip r:embed="rId3"/>
          <a:stretch>
            <a:fillRect/>
          </a:stretch>
        </p:blipFill>
        <p:spPr>
          <a:xfrm>
            <a:off x="686639" y="1621719"/>
            <a:ext cx="7767447" cy="2572689"/>
          </a:xfrm>
          <a:prstGeom prst="rect">
            <a:avLst/>
          </a:prstGeom>
        </p:spPr>
      </p:pic>
    </p:spTree>
    <p:custDataLst>
      <p:tags r:id="rId1"/>
    </p:custDataLst>
    <p:extLst>
      <p:ext uri="{BB962C8B-B14F-4D97-AF65-F5344CB8AC3E}">
        <p14:creationId xmlns:p14="http://schemas.microsoft.com/office/powerpoint/2010/main" val="2782395518"/>
      </p:ext>
    </p:extLst>
  </p:cSld>
  <p:clrMapOvr>
    <a:masterClrMapping/>
  </p:clrMapOvr>
  <p:transition spd="slow">
    <p:push/>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C7A6BAB-1BC8-87E7-C3FE-C5AAC173D7A6}"/>
              </a:ext>
            </a:extLst>
          </p:cNvPr>
          <p:cNvSpPr>
            <a:spLocks noGrp="1"/>
          </p:cNvSpPr>
          <p:nvPr>
            <p:ph type="body" sz="quarter" idx="13"/>
          </p:nvPr>
        </p:nvSpPr>
        <p:spPr/>
        <p:txBody>
          <a:bodyPr/>
          <a:lstStyle/>
          <a:p>
            <a:r>
              <a:rPr lang="en-US" dirty="0"/>
              <a:t>Clone repository from Tortoise</a:t>
            </a:r>
            <a:endParaRPr lang="de-DE" dirty="0"/>
          </a:p>
        </p:txBody>
      </p:sp>
      <p:sp>
        <p:nvSpPr>
          <p:cNvPr id="4" name="Text Placeholder 3">
            <a:extLst>
              <a:ext uri="{FF2B5EF4-FFF2-40B4-BE49-F238E27FC236}">
                <a16:creationId xmlns:a16="http://schemas.microsoft.com/office/drawing/2014/main" id="{EF6FEBEB-DD3D-A5AE-51B3-87DF274F4761}"/>
              </a:ext>
            </a:extLst>
          </p:cNvPr>
          <p:cNvSpPr>
            <a:spLocks noGrp="1"/>
          </p:cNvSpPr>
          <p:nvPr>
            <p:ph type="body" sz="quarter" idx="18"/>
          </p:nvPr>
        </p:nvSpPr>
        <p:spPr>
          <a:xfrm>
            <a:off x="360000" y="1032388"/>
            <a:ext cx="8420726" cy="3751352"/>
          </a:xfrm>
        </p:spPr>
        <p:txBody>
          <a:bodyPr/>
          <a:lstStyle/>
          <a:p>
            <a:endParaRPr lang="en-US" sz="1600" b="0" dirty="0">
              <a:solidFill>
                <a:srgbClr val="333333"/>
              </a:solidFill>
            </a:endParaRPr>
          </a:p>
          <a:p>
            <a:endParaRPr lang="en-US" sz="1600" b="0" dirty="0">
              <a:solidFill>
                <a:srgbClr val="333333"/>
              </a:solidFill>
            </a:endParaRPr>
          </a:p>
          <a:p>
            <a:endParaRPr lang="en-US" sz="1600" b="0" dirty="0"/>
          </a:p>
        </p:txBody>
      </p:sp>
      <p:sp>
        <p:nvSpPr>
          <p:cNvPr id="7" name="TextBox 6">
            <a:extLst>
              <a:ext uri="{FF2B5EF4-FFF2-40B4-BE49-F238E27FC236}">
                <a16:creationId xmlns:a16="http://schemas.microsoft.com/office/drawing/2014/main" id="{ABA5EC5E-E9F5-6036-0697-AB5D62046384}"/>
              </a:ext>
            </a:extLst>
          </p:cNvPr>
          <p:cNvSpPr txBox="1"/>
          <p:nvPr/>
        </p:nvSpPr>
        <p:spPr>
          <a:xfrm>
            <a:off x="360000" y="1041434"/>
            <a:ext cx="3413714" cy="3970318"/>
          </a:xfrm>
          <a:prstGeom prst="rect">
            <a:avLst/>
          </a:prstGeom>
          <a:noFill/>
        </p:spPr>
        <p:txBody>
          <a:bodyPr wrap="square">
            <a:spAutoFit/>
          </a:bodyPr>
          <a:lstStyle/>
          <a:p>
            <a:pPr marL="342900" indent="-342900" algn="just">
              <a:buClr>
                <a:srgbClr val="990000"/>
              </a:buClr>
              <a:buFont typeface="+mj-lt"/>
              <a:buAutoNum type="arabicPeriod"/>
            </a:pPr>
            <a:r>
              <a:rPr lang="en-US" sz="1400" b="0" dirty="0">
                <a:solidFill>
                  <a:schemeClr val="tx1"/>
                </a:solidFill>
                <a:latin typeface="Verdana" panose="020B0604030504040204" pitchFamily="34" charset="0"/>
                <a:ea typeface="Verdana" panose="020B0604030504040204" pitchFamily="34" charset="0"/>
              </a:rPr>
              <a:t>Go to the directory where you want to create the clone and right-click -&gt; Git Clone…</a:t>
            </a:r>
          </a:p>
          <a:p>
            <a:pPr marL="342900" indent="-342900" algn="just">
              <a:buClr>
                <a:srgbClr val="990000"/>
              </a:buClr>
              <a:buFont typeface="+mj-lt"/>
              <a:buAutoNum type="arabicPeriod"/>
            </a:pPr>
            <a:r>
              <a:rPr lang="en-US" sz="1400" dirty="0">
                <a:latin typeface="Verdana" panose="020B0604030504040204" pitchFamily="34" charset="0"/>
                <a:ea typeface="Verdana" panose="020B0604030504040204" pitchFamily="34" charset="0"/>
              </a:rPr>
              <a:t>In the UI, insert the URL link of your repository from Code-&gt;HTTPS</a:t>
            </a:r>
          </a:p>
          <a:p>
            <a:pPr marL="342900" indent="-342900" algn="just">
              <a:buClr>
                <a:srgbClr val="990000"/>
              </a:buClr>
              <a:buFont typeface="+mj-lt"/>
              <a:buAutoNum type="arabicPeriod"/>
            </a:pPr>
            <a:r>
              <a:rPr lang="en-US" sz="1400" dirty="0">
                <a:latin typeface="Verdana" panose="020B0604030504040204" pitchFamily="34" charset="0"/>
                <a:ea typeface="Verdana" panose="020B0604030504040204" pitchFamily="34" charset="0"/>
              </a:rPr>
              <a:t>In the Directory field, you can set the name of the cloned folder.</a:t>
            </a:r>
          </a:p>
          <a:p>
            <a:pPr marL="342900" indent="-342900" algn="just">
              <a:buClr>
                <a:srgbClr val="990000"/>
              </a:buClr>
              <a:buFont typeface="+mj-lt"/>
              <a:buAutoNum type="arabicPeriod"/>
            </a:pPr>
            <a:r>
              <a:rPr lang="en-US" sz="1400" dirty="0">
                <a:latin typeface="Verdana" panose="020B0604030504040204" pitchFamily="34" charset="0"/>
                <a:ea typeface="Verdana" panose="020B0604030504040204" pitchFamily="34" charset="0"/>
              </a:rPr>
              <a:t>A folder has been created at your location.</a:t>
            </a:r>
          </a:p>
          <a:p>
            <a:pPr marL="342900" indent="-342900" algn="just">
              <a:buClr>
                <a:srgbClr val="990000"/>
              </a:buClr>
              <a:buFont typeface="+mj-lt"/>
              <a:buAutoNum type="arabicPeriod"/>
            </a:pPr>
            <a:r>
              <a:rPr lang="en-US" sz="1400" dirty="0">
                <a:latin typeface="Verdana" panose="020B0604030504040204" pitchFamily="34" charset="0"/>
                <a:ea typeface="Verdana" panose="020B0604030504040204" pitchFamily="34" charset="0"/>
              </a:rPr>
              <a:t>Inside, you can find a hidden folder named .git; this represents the connection between the git server and your local PC.</a:t>
            </a:r>
          </a:p>
          <a:p>
            <a:pPr marL="342900" indent="-342900" algn="just">
              <a:buClr>
                <a:srgbClr val="990000"/>
              </a:buClr>
              <a:buFont typeface="+mj-lt"/>
              <a:buAutoNum type="arabicPeriod"/>
            </a:pPr>
            <a:endParaRPr lang="en-US" sz="1400" dirty="0">
              <a:latin typeface="Verdana" panose="020B0604030504040204" pitchFamily="34" charset="0"/>
              <a:ea typeface="Verdana" panose="020B0604030504040204" pitchFamily="34" charset="0"/>
            </a:endParaRPr>
          </a:p>
          <a:p>
            <a:pPr marL="285750" indent="-285750" algn="just">
              <a:buClr>
                <a:srgbClr val="990000"/>
              </a:buClr>
              <a:buFont typeface="Wingdings" panose="05000000000000000000" pitchFamily="2" charset="2"/>
              <a:buChar char="§"/>
            </a:pPr>
            <a:endParaRPr lang="en-US" sz="1400" b="0" dirty="0">
              <a:solidFill>
                <a:schemeClr val="tx1"/>
              </a:solidFill>
              <a:latin typeface="Verdana" panose="020B0604030504040204" pitchFamily="34" charset="0"/>
              <a:ea typeface="Verdana" panose="020B0604030504040204" pitchFamily="34" charset="0"/>
            </a:endParaRPr>
          </a:p>
        </p:txBody>
      </p:sp>
      <p:grpSp>
        <p:nvGrpSpPr>
          <p:cNvPr id="3" name="Group 2">
            <a:extLst>
              <a:ext uri="{FF2B5EF4-FFF2-40B4-BE49-F238E27FC236}">
                <a16:creationId xmlns:a16="http://schemas.microsoft.com/office/drawing/2014/main" id="{C8037E3A-B4B3-8777-200C-7A6918FAAD23}"/>
              </a:ext>
            </a:extLst>
          </p:cNvPr>
          <p:cNvGrpSpPr/>
          <p:nvPr/>
        </p:nvGrpSpPr>
        <p:grpSpPr>
          <a:xfrm>
            <a:off x="4034970" y="1076609"/>
            <a:ext cx="4745755" cy="3444321"/>
            <a:chOff x="11145450" y="2240667"/>
            <a:chExt cx="12891859" cy="10140113"/>
          </a:xfrm>
        </p:grpSpPr>
        <p:pic>
          <p:nvPicPr>
            <p:cNvPr id="5" name="Content Placeholder 4">
              <a:extLst>
                <a:ext uri="{FF2B5EF4-FFF2-40B4-BE49-F238E27FC236}">
                  <a16:creationId xmlns:a16="http://schemas.microsoft.com/office/drawing/2014/main" id="{F4932CD7-7E2C-2611-E7A3-5637C7DACB1E}"/>
                </a:ext>
              </a:extLst>
            </p:cNvPr>
            <p:cNvPicPr>
              <a:picLocks noChangeAspect="1"/>
            </p:cNvPicPr>
            <p:nvPr/>
          </p:nvPicPr>
          <p:blipFill rotWithShape="1">
            <a:blip r:embed="rId3"/>
            <a:stretch/>
          </p:blipFill>
          <p:spPr>
            <a:xfrm>
              <a:off x="12673141" y="2393504"/>
              <a:ext cx="2831227" cy="4300061"/>
            </a:xfrm>
            <a:prstGeom prst="rect">
              <a:avLst/>
            </a:prstGeom>
          </p:spPr>
        </p:pic>
        <p:pic>
          <p:nvPicPr>
            <p:cNvPr id="6" name="Picture 5">
              <a:extLst>
                <a:ext uri="{FF2B5EF4-FFF2-40B4-BE49-F238E27FC236}">
                  <a16:creationId xmlns:a16="http://schemas.microsoft.com/office/drawing/2014/main" id="{29C3BF45-51CD-0140-9D64-29C79D487D80}"/>
                </a:ext>
              </a:extLst>
            </p:cNvPr>
            <p:cNvPicPr>
              <a:picLocks noChangeAspect="1"/>
            </p:cNvPicPr>
            <p:nvPr/>
          </p:nvPicPr>
          <p:blipFill>
            <a:blip r:embed="rId4"/>
            <a:stretch>
              <a:fillRect/>
            </a:stretch>
          </p:blipFill>
          <p:spPr>
            <a:xfrm>
              <a:off x="17592600" y="2240667"/>
              <a:ext cx="6088290" cy="4307465"/>
            </a:xfrm>
            <a:prstGeom prst="rect">
              <a:avLst/>
            </a:prstGeom>
          </p:spPr>
        </p:pic>
        <p:pic>
          <p:nvPicPr>
            <p:cNvPr id="8" name="Picture 7">
              <a:extLst>
                <a:ext uri="{FF2B5EF4-FFF2-40B4-BE49-F238E27FC236}">
                  <a16:creationId xmlns:a16="http://schemas.microsoft.com/office/drawing/2014/main" id="{5ED23DF3-80CA-FAE0-78F5-A9BEBA773D12}"/>
                </a:ext>
              </a:extLst>
            </p:cNvPr>
            <p:cNvPicPr>
              <a:picLocks noChangeAspect="1"/>
            </p:cNvPicPr>
            <p:nvPr/>
          </p:nvPicPr>
          <p:blipFill>
            <a:blip r:embed="rId5"/>
            <a:stretch>
              <a:fillRect/>
            </a:stretch>
          </p:blipFill>
          <p:spPr>
            <a:xfrm>
              <a:off x="18537601" y="9234264"/>
              <a:ext cx="5499708" cy="2316595"/>
            </a:xfrm>
            <a:prstGeom prst="rect">
              <a:avLst/>
            </a:prstGeom>
          </p:spPr>
        </p:pic>
        <p:pic>
          <p:nvPicPr>
            <p:cNvPr id="13" name="Picture 12">
              <a:extLst>
                <a:ext uri="{FF2B5EF4-FFF2-40B4-BE49-F238E27FC236}">
                  <a16:creationId xmlns:a16="http://schemas.microsoft.com/office/drawing/2014/main" id="{CD5985D4-AAD9-8C91-71D8-C47DF2594A21}"/>
                </a:ext>
              </a:extLst>
            </p:cNvPr>
            <p:cNvPicPr>
              <a:picLocks noChangeAspect="1"/>
            </p:cNvPicPr>
            <p:nvPr/>
          </p:nvPicPr>
          <p:blipFill>
            <a:blip r:embed="rId6"/>
            <a:stretch>
              <a:fillRect/>
            </a:stretch>
          </p:blipFill>
          <p:spPr>
            <a:xfrm>
              <a:off x="11145450" y="8226152"/>
              <a:ext cx="5977882" cy="4154628"/>
            </a:xfrm>
            <a:prstGeom prst="rect">
              <a:avLst/>
            </a:prstGeom>
          </p:spPr>
        </p:pic>
        <p:sp>
          <p:nvSpPr>
            <p:cNvPr id="14" name="Arrow: Right 13">
              <a:extLst>
                <a:ext uri="{FF2B5EF4-FFF2-40B4-BE49-F238E27FC236}">
                  <a16:creationId xmlns:a16="http://schemas.microsoft.com/office/drawing/2014/main" id="{96AC614E-50CA-EEA3-42AD-DDB157174322}"/>
                </a:ext>
              </a:extLst>
            </p:cNvPr>
            <p:cNvSpPr/>
            <p:nvPr/>
          </p:nvSpPr>
          <p:spPr>
            <a:xfrm>
              <a:off x="16187228" y="3771239"/>
              <a:ext cx="936104" cy="48478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Right 14">
              <a:extLst>
                <a:ext uri="{FF2B5EF4-FFF2-40B4-BE49-F238E27FC236}">
                  <a16:creationId xmlns:a16="http://schemas.microsoft.com/office/drawing/2014/main" id="{DF00C6CE-FC39-0136-25FC-82CED0A6659A}"/>
                </a:ext>
              </a:extLst>
            </p:cNvPr>
            <p:cNvSpPr/>
            <p:nvPr/>
          </p:nvSpPr>
          <p:spPr>
            <a:xfrm>
              <a:off x="17362414" y="10392561"/>
              <a:ext cx="936104" cy="48478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ustDataLst>
      <p:tags r:id="rId1"/>
    </p:custDataLst>
    <p:extLst>
      <p:ext uri="{BB962C8B-B14F-4D97-AF65-F5344CB8AC3E}">
        <p14:creationId xmlns:p14="http://schemas.microsoft.com/office/powerpoint/2010/main" val="44557640"/>
      </p:ext>
    </p:extLst>
  </p:cSld>
  <p:clrMapOvr>
    <a:masterClrMapping/>
  </p:clrMapOvr>
  <p:transition spd="slow">
    <p:push/>
  </p:transition>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MIO_VERSION" val="12.06.2023 09:11:08"/>
</p:tagLst>
</file>

<file path=ppt/tags/tag10.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11.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12.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13.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14.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15.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16.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17.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18.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19.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2.xml><?xml version="1.0" encoding="utf-8"?>
<p:tagLst xmlns:a="http://schemas.openxmlformats.org/drawingml/2006/main" xmlns:r="http://schemas.openxmlformats.org/officeDocument/2006/relationships" xmlns:p="http://schemas.openxmlformats.org/presentationml/2006/main">
  <p:tag name="MIO_MST_COLOR_1" val="124,124,124,Dunkel 1"/>
  <p:tag name="MIO_MST_COLOR_2" val="255,255,255,Hell 1"/>
  <p:tag name="MIO_MST_COLOR_3" val="255,130,0,Dunkel 2"/>
  <p:tag name="MIO_MST_COLOR_4" val="235,235,235,Hell 2"/>
  <p:tag name="MIO_MST_COLOR_5" val="255,130,0,Akzent 1"/>
  <p:tag name="MIO_MST_COLOR_6" val="180,15,50,Akzent 2"/>
  <p:tag name="MIO_MST_COLOR_7" val="190,208,52,Akzent 3"/>
  <p:tag name="MIO_MST_COLOR_8" val="205,80,150,Akzent 4"/>
  <p:tag name="MIO_MST_COLOR_9" val="90,165,230,Akzent 5"/>
  <p:tag name="MIO_MST_COLOR_10" val="250,190,30,Akzent 6"/>
  <p:tag name="MIO_MST_COLOR_11" val="90,165,230,"/>
  <p:tag name="MIO_MST_COLOR_12" val="205,80,150,"/>
  <p:tag name="MIO_EK" val="4001"/>
  <p:tag name="MIO_BULLET_IMAGE_BINARY_DATA" val="iVBORw0KGgoAAAANSUhEUgAAAEIAAAA1CAYAAAD1cz2RAAAACXBIWXMAAAsTAAALEwEAmpwYAAA58mlUWHRYTUw6Y29tLmFkb2JlLnhtcAAAAAAAPD94cGFja2V0IGJlZ2luPSLvu78iIGlkPSJXNU0wTXBDZWhpSHpyZVN6TlRjemtjOWQiPz4KPHg6eG1wbWV0YSB4bWxuczp4PSJhZG9iZTpuczptZXRhLyIgeDp4bXB0az0iQWRvYmUgWE1QIENvcmUgNS42LWMxMzggNzkuMTU5ODI0LCAyMDE2LzA5LzE0LTAxOjA5OjAxICAgICAgICAiPgogICA8cmRmOlJERiB4bWxuczpyZGY9Imh0dHA6Ly93d3cudzMub3JnLzE5OTkvMDIvMjItcmRmLXN5bnRheC1ucyMiPgogICAgICA8cmRmOkRlc2NyaXB0aW9uIHJkZjphYm91dD0iIgogICAgICAgICAgICB4bWxuczp4bXA9Imh0dHA6Ly9ucy5hZG9iZS5jb20veGFwLzEuMC8iCiAgICAgICAgICAgIHhtbG5zOmRjPSJodHRwOi8vcHVybC5vcmcvZGMvZWxlbWVudHMvMS4xLyIKICAgICAgICAgICAgeG1sbnM6cGhvdG9zaG9wPSJodHRwOi8vbnMuYWRvYmUuY29tL3Bob3Rvc2hvcC8xLjAvIgogICAgICAgICAgICB4bWxuczp4bXBNTT0iaHR0cDovL25zLmFkb2JlLmNvbS94YXAvMS4wL21tLyIKICAgICAgICAgICAgeG1sbnM6c3RFdnQ9Imh0dHA6Ly9ucy5hZG9iZS5jb20veGFwLzEuMC9zVHlwZS9SZXNvdXJjZUV2ZW50IyIKICAgICAgICAgICAgeG1sbnM6dGlmZj0iaHR0cDovL25zLmFkb2JlLmNvbS90aWZmLzEuMC8iCiAgICAgICAgICAgIHhtbG5zOmV4aWY9Imh0dHA6Ly9ucy5hZG9iZS5jb20vZXhpZi8xLjAvIj4KICAgICAgICAgPHhtcDpDcmVhdG9yVG9vbD5BZG9iZSBQaG90b3Nob3AgQ0MgMjAxNyAoTWFjaW50b3NoKTwveG1wOkNyZWF0b3JUb29sPgogICAgICAgICA8eG1wOkNyZWF0ZURhdGU+MjAxNy0wOC0wM1QxNjoyMTozMiswMjowMDwveG1wOkNyZWF0ZURhdGU+CiAgICAgICAgIDx4bXA6TW9kaWZ5RGF0ZT4yMDE3LTA4LTAzVDE2OjMxOjUxKzAyOjAwPC94bXA6TW9kaWZ5RGF0ZT4KICAgICAgICAgPHhtcDpNZXRhZGF0YURhdGU+MjAxNy0wOC0wM1QxNjozMTo1MSswMjowMDwveG1wOk1ldGFkYXRhRGF0ZT4KICAgICAgICAgPGRjOmZvcm1hdD5pbWFnZS9wbmc8L2RjOmZvcm1hdD4KICAgICAgICAgPHBob3Rvc2hvcDpDb2xvck1vZGU+MzwvcGhvdG9zaG9wOkNvbG9yTW9kZT4KICAgICAgICAgPHhtcE1NOkluc3RhbmNlSUQ+eG1wLmlpZDphYjVhNmJkOC1hMjg2LTQ2ZDktYTQ0NS1lZDYyM2E2MzUwYWQ8L3htcE1NOkluc3RhbmNlSUQ+CiAgICAgICAgIDx4bXBNTTpEb2N1bWVudElEPmFkb2JlOmRvY2lkOnBob3Rvc2hvcDplNDU4NzIwYS1iOGU2LTExN2EtOWExNC05YjljMDllM2E5NWE8L3htcE1NOkRvY3VtZW50SUQ+CiAgICAgICAgIDx4bXBNTTpPcmlnaW5hbERvY3VtZW50SUQ+eG1wLmRpZDo5MjI3OWJmNC03YzBlLTRhNGEtYTdhYi0yMDZjMTEwYzdiNmY8L3htcE1NOk9yaWdpbmFsRG9jdW1lbnRJRD4KICAgICAgICAgPHhtcE1NOkhpc3Rvcnk+CiAgICAgICAgICAgIDxyZGY6U2VxPgogICAgICAgICAgICAgICA8cmRmOmxpIHJkZjpwYXJzZVR5cGU9IlJlc291cmNlIj4KICAgICAgICAgICAgICAgICAgPHN0RXZ0OmFjdGlvbj5jcmVhdGVkPC9zdEV2dDphY3Rpb24+CiAgICAgICAgICAgICAgICAgIDxzdEV2dDppbnN0YW5jZUlEPnhtcC5paWQ6OTIyNzliZjQtN2MwZS00YTRhLWE3YWItMjA2YzExMGM3YjZmPC9zdEV2dDppbnN0YW5jZUlEPgogICAgICAgICAgICAgICAgICA8c3RFdnQ6d2hlbj4yMDE3LTA4LTAzVDE2OjIxOjMyKzAyOjAwPC9zdEV2dDp3aGVuPgogICAgICAgICAgICAgICAgICA8c3RFdnQ6c29mdHdhcmVBZ2VudD5BZG9iZSBQaG90b3Nob3AgQ0MgMjAxNyAoTWFjaW50b3NoKTwvc3RFdnQ6c29mdHdhcmVBZ2VudD4KICAgICAgICAgICAgICAgPC9yZGY6bGk+CiAgICAgICAgICAgICAgIDxyZGY6bGkgcmRmOnBhcnNlVHlwZT0iUmVzb3VyY2UiPgogICAgICAgICAgICAgICAgICA8c3RFdnQ6YWN0aW9uPnNhdmVkPC9zdEV2dDphY3Rpb24+CiAgICAgICAgICAgICAgICAgIDxzdEV2dDppbnN0YW5jZUlEPnhtcC5paWQ6YWI1YTZiZDgtYTI4Ni00NmQ5LWE0NDUtZWQ2MjNhNjM1MGFkPC9zdEV2dDppbnN0YW5jZUlEPgogICAgICAgICAgICAgICAgICA8c3RFdnQ6d2hlbj4yMDE3LTA4LTAzVDE2OjMxOjUxKzAyOjAwPC9zdEV2dDp3aGVuPgogICAgICAgICAgICAgICAgICA8c3RFdnQ6c29mdHdhcmVBZ2VudD5BZG9iZSBQaG90b3Nob3AgQ0MgMjAxNyAoTWFjaW50b3NoKTwvc3RFdnQ6c29mdHdhcmVBZ2VudD4KICAgICAgICAgICAgICAgICAgPHN0RXZ0OmNoYW5nZWQ+Lzwvc3RFdnQ6Y2hhbmdlZD4KICAgICAgICAgICAgICAgPC9yZGY6bGk+CiAgICAgICAgICAgIDwvcmRmOlNlcT4KICAgICAgICAgPC94bXBNTTpIaXN0b3J5PgogICAgICAgICA8dGlmZjpPcmllbnRhdGlvbj4xPC90aWZmOk9yaWVudGF0aW9uPgogICAgICAgICA8dGlmZjpYUmVzb2x1dGlvbj43MjAwMDAvMTAwMDA8L3RpZmY6WFJlc29sdXRpb24+CiAgICAgICAgIDx0aWZmOllSZXNvbHV0aW9uPjcyMDAwMC8xMDAwMDwvdGlmZjpZUmVzb2x1dGlvbj4KICAgICAgICAgPHRpZmY6UmVzb2x1dGlvblVuaXQ+MjwvdGlmZjpSZXNvbHV0aW9uVW5pdD4KICAgICAgICAgPGV4aWY6Q29sb3JTcGFjZT42NTUzNTwvZXhpZjpDb2xvclNwYWNlPgogICAgICAgICA8ZXhpZjpQaXhlbFhEaW1lbnNpb24+NjY8L2V4aWY6UGl4ZWxYRGltZW5zaW9uPgogICAgICAgICA8ZXhpZjpQaXhlbFlEaW1lbnNpb24+NTM8L2V4aWY6UGl4ZWxZRGltZW5zaW9uPgogICAgICA8L3JkZjpEZXNjcmlwdGlvbj4KICAgPC9yZGY6UkRGPgo8L3g6eG1wbWV0YT4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KPD94cGFja2V0IGVuZD0idyI/PgtbZ1wAAAAgY0hSTQAAeiUAAICDAAD5/wAAgOkAAHUwAADqYAAAOpgAABdvkl/FRgAAAxZJREFUeNrkmtlqFEEUhr9p9B0El4nrg0RNFDFqjLteqHHDdWLQCy8EL0QRo4maZRZBQZ0YoolEJZjMGEF8KDHxYqqhGXqr7qrurs65mWamq7r5+P86p2pOYeUBeY0ycBi4B4wH3bwmpxAqQL+4HgPWAi/8Blg5hFBzQLBjBLi6mkBUgXMev70ESqsBRBU4H3DPEHAzzyDCQLDjOXArjyAqEhDseAbcyROIqsvCGDYeA4N5AFGNoIT2eALcNbmOUAHBjkeAZSKImk+KjBoPTbNGRQMEgHcmKeI1cFbDvO+B05ZBdtABoQ6cMiVrVDXZoQ6cMCV91hRmB2d8cELIOghdSpgCTppSYutSwiRwNO6mqw9YZ7ASPgLH427DZ4Wk/gAdhlSMzvgEHPO7IQyIL0CPuO4AmkDRIAjTtM4uiQNiCtjf9l0HsARsNEQJfWFu9AMx4zNJUcAoZhjCTBglBIGYBg4EjN0MNGIqo6IJwmfgkMwAy2N17Q05fksMmziP3FUroVd2kOXiqSOSc9jK2CQxpqwJwpysEtxATEadBNgmYZMycEEDhFlHdosMou5VcUnEVpFaN6QAYQ44CKzEAfE2qNiQhNHwgDGhCcJXlxQfCcQZxS+2HVgE1rdBuKhJCT0qJrI0LVo7gF9CAW80QZgXEJZVTFYQbQH9Ip2ZEt+EHZZVTWg5qrtLhkD4rhpCe/osA1cyDuEHsE81BLeCahy4nFEI88DeOClStsSeIKCpIkUl/NP1AK//NUYF+dEMQGgC3bqUEGYbPgZcSxnCQhIQwhzMvMKjwySBaAB7gL9JPCzMUd0IcD0FO+zSuSZEAQGtRqwbCb3TYlJ2iAICWn2KA5rfZwnoSsoOUUFAq/eopNEOnTqKJR0gwKMrTVGKTAWCXx0RFMMC4pCCd/gJ7Ex6TVChCKdN4iqjIbJDqhDigrCVUYoBoSvJFKnDGu1rRkHSJk1hh8yEqrYAGZssALuztrVV2R8xDNwOoYTM2EEXCIQ9Bnwqxs4sLIxJgLBtMuhyntBNhkNXn+VT8Xkf+E3rZCnT8X8ApI+ZxAzmVGAAAAAASUVORK5CYII="/>
  <p:tag name="MIO_PRESI_FIRST_SLIDENUMBER" val="1"/>
  <p:tag name="MIO_FALLBACK_LAYOUT" val="9"/>
  <p:tag name="MIO_SHOW_DATE" val="False"/>
  <p:tag name="MIO_SHOW_FOOTER" val="False"/>
  <p:tag name="MIO_SHOW_PAGENUMBER" val="True"/>
  <p:tag name="MIO_AVOID_BLANK_LAYOUT" val="True"/>
  <p:tag name="MIO_CD_LAYOUT_VALID_AREA" val="False"/>
  <p:tag name="MIO_NUMBER_OF_VALID_LAYOUTS" val="24"/>
  <p:tag name="MIO_HDS" val="True"/>
  <p:tag name="MIO_SKIPVERSION" val="01.01.0001 00:00:00"/>
  <p:tag name="MIO_EKGUID" val="9c4a96f3-9cab-4ff2-accc-0a4f1ff5126c"/>
  <p:tag name="MIO_UPDATE" val="True"/>
  <p:tag name="MIO_VERSION" val="09.12.2021 13:31:39"/>
  <p:tag name="MIO_DBID" val="05D39B1E-4B8C-4686-A031-B68ECACBC8FA"/>
  <p:tag name="MIO_LASTDOWNLOADED" val="21.12.2021 09:56:37"/>
  <p:tag name="MIO_OBJECTNAME" val="Master in-tech 2021"/>
  <p:tag name="MIO_LASTEDITORNAME" val="U0080 "/>
  <p:tag name="MIO_CDID" val="f7915359-f924-4c7c-8a57-bbfbc550e868"/>
</p:tagLst>
</file>

<file path=ppt/tags/tag20.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21.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22.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23.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24.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25.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26.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27.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28.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29.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3.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30.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31.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32.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33.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34.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35.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36.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37.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38.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39.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4.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40.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41.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42.xml><?xml version="1.0" encoding="utf-8"?>
<p:tagLst xmlns:a="http://schemas.openxmlformats.org/drawingml/2006/main" xmlns:r="http://schemas.openxmlformats.org/officeDocument/2006/relationships" xmlns:p="http://schemas.openxmlformats.org/presentationml/2006/main">
  <p:tag name="MIO_GUID" val="c3d989f8-f243-4d91-a8f4-2923d83abc18"/>
  <p:tag name="MIO_XPLAT_OBJECTNAME" val="Kontakt"/>
  <p:tag name="MIO_OBJECTFOLDER" val="2ac9d150-f005-4917-88ec-144a2310f9bf"/>
  <p:tag name="MIO_CDID" val="f7915359-f924-4c7c-8a57-bbfbc550e868"/>
  <p:tag name="MIO_EKGUID" val="8e018c3c-9ced-4837-9f26-b9121758795f"/>
  <p:tag name="MIO_UPDATE" val="true"/>
  <p:tag name="MIO_VERSION" val="12.06.2023 09:11:08"/>
  <p:tag name="MIO_DBID" val="05D39B1E-4B8C-4686-A031-B68ECACBC8FA"/>
  <p:tag name="MIO_LASTEDITORNAME" val="Liane Schumann"/>
  <p:tag name="EMPOWER_LANGUAGE" val="de-DE"/>
</p:tagLst>
</file>

<file path=ppt/tags/tag5.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6.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7.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8.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ags/tag9.xml><?xml version="1.0" encoding="utf-8"?>
<p:tagLst xmlns:a="http://schemas.openxmlformats.org/drawingml/2006/main" xmlns:r="http://schemas.openxmlformats.org/officeDocument/2006/relationships" xmlns:p="http://schemas.openxmlformats.org/presentationml/2006/main">
  <p:tag name="MIO_GUID" val="a24a3045-6851-4eb3-9c8b-9721c272c14e"/>
  <p:tag name="MIO_XPLAT_OBJECTNAME" val="ProIT: Key Competences"/>
  <p:tag name="MIO_OBJECTFOLDER" val="2ac9d150-f005-4917-88ec-144a2310f9bf"/>
  <p:tag name="MIO_CDID" val="f7915359-f924-4c7c-8a57-bbfbc550e868"/>
  <p:tag name="EMPOWER_LANGUAGE" val="de-DE"/>
  <p:tag name="MIO_EKGUID" val="153b3a43-3506-49f3-aea4-e7ff0ac6051d"/>
  <p:tag name="MIO_UPDATE" val="true"/>
  <p:tag name="MIO_VERSION" val="26.06.2023 07:58:13"/>
  <p:tag name="MIO_DBID" val="05D39B1E-4B8C-4686-A031-B68ECACBC8FA"/>
  <p:tag name="MIO_LASTEDITORNAME" val="Liane Schumann"/>
</p:tagLst>
</file>

<file path=ppt/theme/theme1.xml><?xml version="1.0" encoding="utf-8"?>
<a:theme xmlns:a="http://schemas.openxmlformats.org/drawingml/2006/main" name="1_in-tech_Folienmaster">
  <a:themeElements>
    <a:clrScheme name="Benutzerdefiniert 2">
      <a:dk1>
        <a:srgbClr val="3C3C46"/>
      </a:dk1>
      <a:lt1>
        <a:srgbClr val="FFFFFF"/>
      </a:lt1>
      <a:dk2>
        <a:srgbClr val="C00C0F"/>
      </a:dk2>
      <a:lt2>
        <a:srgbClr val="828282"/>
      </a:lt2>
      <a:accent1>
        <a:srgbClr val="C00C00"/>
      </a:accent1>
      <a:accent2>
        <a:srgbClr val="4691A5"/>
      </a:accent2>
      <a:accent3>
        <a:srgbClr val="3C3C46"/>
      </a:accent3>
      <a:accent4>
        <a:srgbClr val="8CB25F"/>
      </a:accent4>
      <a:accent5>
        <a:srgbClr val="CA3334"/>
      </a:accent5>
      <a:accent6>
        <a:srgbClr val="C4C4C7"/>
      </a:accent6>
      <a:hlink>
        <a:srgbClr val="3C3C46"/>
      </a:hlink>
      <a:folHlink>
        <a:srgbClr val="3C3C46"/>
      </a:folHlink>
    </a:clrScheme>
    <a:fontScheme name="Neu">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rtl="0" eaLnBrk="1" fontAlgn="auto" hangingPunct="1">
          <a:lnSpc>
            <a:spcPct val="100000"/>
          </a:lnSpc>
          <a:spcBef>
            <a:spcPts val="0"/>
          </a:spcBef>
          <a:spcAft>
            <a:spcPts val="0"/>
          </a:spcAft>
          <a:defRPr sz="1400" b="0" i="0" u="none" baseline="0" dirty="0" smtClean="0">
            <a:solidFill>
              <a:srgbClr val="FFFFFF"/>
            </a:solidFill>
            <a:latin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nchor="t">
        <a:noAutofit/>
      </a:bodyPr>
      <a:lstStyle>
        <a:defPPr algn="l" rtl="0" eaLnBrk="1" fontAlgn="auto" hangingPunct="1">
          <a:lnSpc>
            <a:spcPct val="100000"/>
          </a:lnSpc>
          <a:spcBef>
            <a:spcPts val="0"/>
          </a:spcBef>
          <a:spcAft>
            <a:spcPts val="0"/>
          </a:spcAft>
          <a:defRPr sz="1100" b="0" i="0" u="none" baseline="0" dirty="0" smtClean="0">
            <a:solidFill>
              <a:srgbClr val="646464"/>
            </a:solidFill>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in-tech_Powerpoint_Master_20171120" id="{00814DC2-A6AB-4B3E-B2B6-B581302F844C}" vid="{8B58CF65-8C41-4776-96BA-CB18408B754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b1c9b508-7c6e-42bd-bedf-808292653d6c}" enabled="1" method="Standard" siteId="{2882be50-2012-4d88-ac86-544124e120c8}" contentBits="3" removed="0"/>
</clbl:labelList>
</file>

<file path=docProps/app.xml><?xml version="1.0" encoding="utf-8"?>
<Properties xmlns="http://schemas.openxmlformats.org/officeDocument/2006/extended-properties" xmlns:vt="http://schemas.openxmlformats.org/officeDocument/2006/docPropsVTypes">
  <Template/>
  <TotalTime>0</TotalTime>
  <Words>2648</Words>
  <Application>Microsoft Office PowerPoint</Application>
  <PresentationFormat>On-screen Show (16:9)</PresentationFormat>
  <Paragraphs>179</Paragraphs>
  <Slides>41</Slides>
  <Notes>7</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41</vt:i4>
      </vt:variant>
    </vt:vector>
  </HeadingPairs>
  <TitlesOfParts>
    <vt:vector size="49" baseType="lpstr">
      <vt:lpstr>Arial</vt:lpstr>
      <vt:lpstr>Calibri</vt:lpstr>
      <vt:lpstr>Gill Sans Light</vt:lpstr>
      <vt:lpstr>Open Sans</vt:lpstr>
      <vt:lpstr>Pathway Extreme</vt:lpstr>
      <vt:lpstr>Verdana</vt:lpstr>
      <vt:lpstr>Wingdings</vt:lpstr>
      <vt:lpstr>1_in-tech_Folienmaster</vt:lpstr>
      <vt:lpstr>Training GitHub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U0080</dc:creator>
  <cp:lastModifiedBy>Nica, Robert (EXTERN: ProIT)</cp:lastModifiedBy>
  <cp:revision>679</cp:revision>
  <dcterms:created xsi:type="dcterms:W3CDTF">2018-01-08T09:45:40Z</dcterms:created>
  <dcterms:modified xsi:type="dcterms:W3CDTF">2024-05-31T08:2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1_in-tech_Folienmaster:4</vt:lpwstr>
  </property>
  <property fmtid="{D5CDD505-2E9C-101B-9397-08002B2CF9AE}" pid="3" name="ClassificationContentMarkingFooterText">
    <vt:lpwstr>INTERNAL</vt:lpwstr>
  </property>
</Properties>
</file>